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2.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7.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8.xml" ContentType="application/vnd.openxmlformats-officedocument.presentationml.slideLayout+xml"/>
  <Override PartName="/ppt/slideLayouts/slideLayout86.xml" ContentType="application/vnd.openxmlformats-officedocument.presentationml.slideLayout+xml"/>
  <Override PartName="/ppt/slideLayouts/slideLayout90.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89.xml" ContentType="application/vnd.openxmlformats-officedocument.presentationml.slideLayout+xml"/>
  <Override PartName="/ppt/slideLayouts/slideLayout136.xml" ContentType="application/vnd.openxmlformats-officedocument.presentationml.slideLayout+xml"/>
  <Override PartName="/ppt/slideLayouts/slideLayout134.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35.xml" ContentType="application/vnd.openxmlformats-officedocument.presentationml.slideLayout+xml"/>
  <Override PartName="/ppt/slideLayouts/slideLayout113.xml" ContentType="application/vnd.openxmlformats-officedocument.presentationml.slideLayout+xml"/>
  <Override PartName="/ppt/slideLayouts/slideLayout115.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4.xml" ContentType="application/vnd.openxmlformats-officedocument.presentationml.slideLayout+xml"/>
  <Override PartName="/ppt/slideLayouts/slideLayout121.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4.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62.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386.xml" ContentType="application/vnd.openxmlformats-officedocument.presentationml.tags+xml"/>
  <Override PartName="/ppt/tags/tag1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5"/>
  </p:notesMasterIdLst>
  <p:sldIdLst>
    <p:sldId id="413" r:id="rId4"/>
    <p:sldId id="414" r:id="rId5"/>
    <p:sldId id="422" r:id="rId6"/>
    <p:sldId id="416" r:id="rId7"/>
    <p:sldId id="423" r:id="rId8"/>
    <p:sldId id="424" r:id="rId9"/>
    <p:sldId id="412" r:id="rId10"/>
    <p:sldId id="302" r:id="rId11"/>
    <p:sldId id="419" r:id="rId12"/>
    <p:sldId id="425" r:id="rId13"/>
    <p:sldId id="418" r:id="rId14"/>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varScale="1">
        <p:scale>
          <a:sx n="93" d="100"/>
          <a:sy n="93" d="100"/>
        </p:scale>
        <p:origin x="-354" y="-90"/>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customXml" Target="../customXml/item2.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40119</c:v>
                </c:pt>
                <c:pt idx="1">
                  <c:v>40120</c:v>
                </c:pt>
                <c:pt idx="2">
                  <c:v>40121</c:v>
                </c:pt>
                <c:pt idx="3">
                  <c:v>40122</c:v>
                </c:pt>
                <c:pt idx="4">
                  <c:v>40123</c:v>
                </c:pt>
                <c:pt idx="5">
                  <c:v>40126</c:v>
                </c:pt>
                <c:pt idx="6">
                  <c:v>40127</c:v>
                </c:pt>
                <c:pt idx="7">
                  <c:v>40128</c:v>
                </c:pt>
                <c:pt idx="8">
                  <c:v>40129</c:v>
                </c:pt>
                <c:pt idx="9">
                  <c:v>40130</c:v>
                </c:pt>
                <c:pt idx="10">
                  <c:v>40133</c:v>
                </c:pt>
                <c:pt idx="11">
                  <c:v>40134</c:v>
                </c:pt>
                <c:pt idx="12">
                  <c:v>40135</c:v>
                </c:pt>
                <c:pt idx="13">
                  <c:v>40136</c:v>
                </c:pt>
                <c:pt idx="14">
                  <c:v>40137</c:v>
                </c:pt>
                <c:pt idx="15">
                  <c:v>40140</c:v>
                </c:pt>
                <c:pt idx="16">
                  <c:v>40141</c:v>
                </c:pt>
                <c:pt idx="17">
                  <c:v>40142</c:v>
                </c:pt>
                <c:pt idx="18">
                  <c:v>40143</c:v>
                </c:pt>
                <c:pt idx="19">
                  <c:v>40144</c:v>
                </c:pt>
                <c:pt idx="20">
                  <c:v>40147</c:v>
                </c:pt>
                <c:pt idx="21">
                  <c:v>40148</c:v>
                </c:pt>
                <c:pt idx="22">
                  <c:v>40149</c:v>
                </c:pt>
                <c:pt idx="23">
                  <c:v>40150</c:v>
                </c:pt>
                <c:pt idx="24">
                  <c:v>40151</c:v>
                </c:pt>
                <c:pt idx="25">
                  <c:v>40154</c:v>
                </c:pt>
                <c:pt idx="26">
                  <c:v>40155</c:v>
                </c:pt>
                <c:pt idx="27">
                  <c:v>40156</c:v>
                </c:pt>
                <c:pt idx="28">
                  <c:v>40157</c:v>
                </c:pt>
                <c:pt idx="29">
                  <c:v>40158</c:v>
                </c:pt>
                <c:pt idx="30">
                  <c:v>40161</c:v>
                </c:pt>
                <c:pt idx="31">
                  <c:v>40162</c:v>
                </c:pt>
                <c:pt idx="32">
                  <c:v>40163</c:v>
                </c:pt>
                <c:pt idx="33">
                  <c:v>40164</c:v>
                </c:pt>
                <c:pt idx="34">
                  <c:v>40165</c:v>
                </c:pt>
                <c:pt idx="35">
                  <c:v>40168</c:v>
                </c:pt>
                <c:pt idx="36">
                  <c:v>40169</c:v>
                </c:pt>
                <c:pt idx="37">
                  <c:v>40170</c:v>
                </c:pt>
                <c:pt idx="38">
                  <c:v>40171</c:v>
                </c:pt>
                <c:pt idx="39">
                  <c:v>40175</c:v>
                </c:pt>
                <c:pt idx="40">
                  <c:v>40176</c:v>
                </c:pt>
                <c:pt idx="41">
                  <c:v>40177</c:v>
                </c:pt>
                <c:pt idx="42">
                  <c:v>40178</c:v>
                </c:pt>
                <c:pt idx="43">
                  <c:v>40182</c:v>
                </c:pt>
                <c:pt idx="44">
                  <c:v>40183</c:v>
                </c:pt>
                <c:pt idx="45">
                  <c:v>40184</c:v>
                </c:pt>
                <c:pt idx="46">
                  <c:v>40185</c:v>
                </c:pt>
                <c:pt idx="47">
                  <c:v>40186</c:v>
                </c:pt>
                <c:pt idx="48">
                  <c:v>40189</c:v>
                </c:pt>
                <c:pt idx="49">
                  <c:v>40190</c:v>
                </c:pt>
                <c:pt idx="50">
                  <c:v>40191</c:v>
                </c:pt>
                <c:pt idx="51">
                  <c:v>40192</c:v>
                </c:pt>
                <c:pt idx="52">
                  <c:v>40193</c:v>
                </c:pt>
                <c:pt idx="53">
                  <c:v>40196</c:v>
                </c:pt>
                <c:pt idx="54">
                  <c:v>40197</c:v>
                </c:pt>
                <c:pt idx="55">
                  <c:v>40198</c:v>
                </c:pt>
                <c:pt idx="56">
                  <c:v>40199</c:v>
                </c:pt>
                <c:pt idx="57">
                  <c:v>40200</c:v>
                </c:pt>
                <c:pt idx="58">
                  <c:v>40203</c:v>
                </c:pt>
                <c:pt idx="59">
                  <c:v>40204</c:v>
                </c:pt>
                <c:pt idx="60">
                  <c:v>40205</c:v>
                </c:pt>
                <c:pt idx="61">
                  <c:v>40206</c:v>
                </c:pt>
                <c:pt idx="62">
                  <c:v>40207</c:v>
                </c:pt>
                <c:pt idx="63">
                  <c:v>40210</c:v>
                </c:pt>
                <c:pt idx="64">
                  <c:v>40211</c:v>
                </c:pt>
                <c:pt idx="65">
                  <c:v>40212</c:v>
                </c:pt>
                <c:pt idx="66">
                  <c:v>40213</c:v>
                </c:pt>
                <c:pt idx="67">
                  <c:v>40214</c:v>
                </c:pt>
                <c:pt idx="68">
                  <c:v>40217</c:v>
                </c:pt>
                <c:pt idx="69">
                  <c:v>40218</c:v>
                </c:pt>
                <c:pt idx="70">
                  <c:v>40219</c:v>
                </c:pt>
                <c:pt idx="71">
                  <c:v>40220</c:v>
                </c:pt>
                <c:pt idx="72">
                  <c:v>40221</c:v>
                </c:pt>
                <c:pt idx="73">
                  <c:v>40224</c:v>
                </c:pt>
                <c:pt idx="74">
                  <c:v>40225</c:v>
                </c:pt>
                <c:pt idx="75">
                  <c:v>40226</c:v>
                </c:pt>
                <c:pt idx="76">
                  <c:v>40227</c:v>
                </c:pt>
                <c:pt idx="77">
                  <c:v>40228</c:v>
                </c:pt>
                <c:pt idx="78">
                  <c:v>40231</c:v>
                </c:pt>
                <c:pt idx="79">
                  <c:v>40232</c:v>
                </c:pt>
                <c:pt idx="80">
                  <c:v>40233</c:v>
                </c:pt>
                <c:pt idx="81">
                  <c:v>40234</c:v>
                </c:pt>
                <c:pt idx="82">
                  <c:v>40235</c:v>
                </c:pt>
                <c:pt idx="83">
                  <c:v>40238</c:v>
                </c:pt>
                <c:pt idx="84">
                  <c:v>40239</c:v>
                </c:pt>
                <c:pt idx="85">
                  <c:v>40240</c:v>
                </c:pt>
                <c:pt idx="86">
                  <c:v>40241</c:v>
                </c:pt>
                <c:pt idx="87">
                  <c:v>40242</c:v>
                </c:pt>
                <c:pt idx="88">
                  <c:v>40245</c:v>
                </c:pt>
                <c:pt idx="89">
                  <c:v>40246</c:v>
                </c:pt>
                <c:pt idx="90">
                  <c:v>40247</c:v>
                </c:pt>
                <c:pt idx="91">
                  <c:v>40248</c:v>
                </c:pt>
                <c:pt idx="92">
                  <c:v>40249</c:v>
                </c:pt>
                <c:pt idx="93">
                  <c:v>40252</c:v>
                </c:pt>
                <c:pt idx="94">
                  <c:v>40253</c:v>
                </c:pt>
                <c:pt idx="95">
                  <c:v>40254</c:v>
                </c:pt>
                <c:pt idx="96">
                  <c:v>40255</c:v>
                </c:pt>
                <c:pt idx="97">
                  <c:v>40256</c:v>
                </c:pt>
                <c:pt idx="98">
                  <c:v>40259</c:v>
                </c:pt>
                <c:pt idx="99">
                  <c:v>40260</c:v>
                </c:pt>
                <c:pt idx="100">
                  <c:v>40261</c:v>
                </c:pt>
                <c:pt idx="101">
                  <c:v>40262</c:v>
                </c:pt>
                <c:pt idx="102">
                  <c:v>40263</c:v>
                </c:pt>
                <c:pt idx="103">
                  <c:v>40266</c:v>
                </c:pt>
                <c:pt idx="104">
                  <c:v>40267</c:v>
                </c:pt>
                <c:pt idx="105">
                  <c:v>40268</c:v>
                </c:pt>
                <c:pt idx="106">
                  <c:v>40269</c:v>
                </c:pt>
                <c:pt idx="107">
                  <c:v>40274</c:v>
                </c:pt>
                <c:pt idx="108">
                  <c:v>40275</c:v>
                </c:pt>
                <c:pt idx="109">
                  <c:v>40276</c:v>
                </c:pt>
                <c:pt idx="110">
                  <c:v>40277</c:v>
                </c:pt>
                <c:pt idx="111">
                  <c:v>40280</c:v>
                </c:pt>
                <c:pt idx="112">
                  <c:v>40281</c:v>
                </c:pt>
                <c:pt idx="113">
                  <c:v>40282</c:v>
                </c:pt>
                <c:pt idx="114">
                  <c:v>40283</c:v>
                </c:pt>
                <c:pt idx="115">
                  <c:v>40284</c:v>
                </c:pt>
                <c:pt idx="116">
                  <c:v>40287</c:v>
                </c:pt>
                <c:pt idx="117">
                  <c:v>40288</c:v>
                </c:pt>
                <c:pt idx="118">
                  <c:v>40289</c:v>
                </c:pt>
                <c:pt idx="119">
                  <c:v>40290</c:v>
                </c:pt>
                <c:pt idx="120">
                  <c:v>40291</c:v>
                </c:pt>
                <c:pt idx="121">
                  <c:v>40294</c:v>
                </c:pt>
                <c:pt idx="122">
                  <c:v>40295</c:v>
                </c:pt>
                <c:pt idx="123">
                  <c:v>40296</c:v>
                </c:pt>
                <c:pt idx="124">
                  <c:v>40297</c:v>
                </c:pt>
                <c:pt idx="125">
                  <c:v>40298</c:v>
                </c:pt>
                <c:pt idx="126">
                  <c:v>40301</c:v>
                </c:pt>
                <c:pt idx="127">
                  <c:v>40302</c:v>
                </c:pt>
                <c:pt idx="128">
                  <c:v>40303</c:v>
                </c:pt>
                <c:pt idx="129">
                  <c:v>40304</c:v>
                </c:pt>
                <c:pt idx="130">
                  <c:v>40305</c:v>
                </c:pt>
                <c:pt idx="131">
                  <c:v>40308</c:v>
                </c:pt>
                <c:pt idx="132">
                  <c:v>40309</c:v>
                </c:pt>
                <c:pt idx="133">
                  <c:v>40310</c:v>
                </c:pt>
                <c:pt idx="134">
                  <c:v>40311</c:v>
                </c:pt>
                <c:pt idx="135">
                  <c:v>40312</c:v>
                </c:pt>
                <c:pt idx="136">
                  <c:v>40315</c:v>
                </c:pt>
                <c:pt idx="137">
                  <c:v>40316</c:v>
                </c:pt>
                <c:pt idx="138">
                  <c:v>40317</c:v>
                </c:pt>
                <c:pt idx="139">
                  <c:v>40318</c:v>
                </c:pt>
                <c:pt idx="140">
                  <c:v>40319</c:v>
                </c:pt>
                <c:pt idx="141">
                  <c:v>40322</c:v>
                </c:pt>
                <c:pt idx="142">
                  <c:v>40323</c:v>
                </c:pt>
                <c:pt idx="143">
                  <c:v>40324</c:v>
                </c:pt>
                <c:pt idx="144">
                  <c:v>40325</c:v>
                </c:pt>
                <c:pt idx="145">
                  <c:v>40326</c:v>
                </c:pt>
                <c:pt idx="146">
                  <c:v>40329</c:v>
                </c:pt>
                <c:pt idx="147">
                  <c:v>40330</c:v>
                </c:pt>
                <c:pt idx="148">
                  <c:v>40331</c:v>
                </c:pt>
                <c:pt idx="149">
                  <c:v>40332</c:v>
                </c:pt>
                <c:pt idx="150">
                  <c:v>40333</c:v>
                </c:pt>
                <c:pt idx="151">
                  <c:v>40336</c:v>
                </c:pt>
                <c:pt idx="152">
                  <c:v>40337</c:v>
                </c:pt>
                <c:pt idx="153">
                  <c:v>40338</c:v>
                </c:pt>
                <c:pt idx="154">
                  <c:v>40339</c:v>
                </c:pt>
                <c:pt idx="155">
                  <c:v>40340</c:v>
                </c:pt>
                <c:pt idx="156">
                  <c:v>40343</c:v>
                </c:pt>
                <c:pt idx="157">
                  <c:v>40344</c:v>
                </c:pt>
                <c:pt idx="158">
                  <c:v>40345</c:v>
                </c:pt>
                <c:pt idx="159">
                  <c:v>40346</c:v>
                </c:pt>
                <c:pt idx="160">
                  <c:v>40347</c:v>
                </c:pt>
                <c:pt idx="161">
                  <c:v>40350</c:v>
                </c:pt>
                <c:pt idx="162">
                  <c:v>40351</c:v>
                </c:pt>
                <c:pt idx="163">
                  <c:v>40352</c:v>
                </c:pt>
                <c:pt idx="164">
                  <c:v>40353</c:v>
                </c:pt>
                <c:pt idx="165">
                  <c:v>40354</c:v>
                </c:pt>
                <c:pt idx="166">
                  <c:v>40357</c:v>
                </c:pt>
                <c:pt idx="167">
                  <c:v>40358</c:v>
                </c:pt>
                <c:pt idx="168">
                  <c:v>40359</c:v>
                </c:pt>
                <c:pt idx="169">
                  <c:v>40360</c:v>
                </c:pt>
                <c:pt idx="170">
                  <c:v>40361</c:v>
                </c:pt>
                <c:pt idx="171">
                  <c:v>40364</c:v>
                </c:pt>
                <c:pt idx="172">
                  <c:v>40365</c:v>
                </c:pt>
                <c:pt idx="173">
                  <c:v>40366</c:v>
                </c:pt>
                <c:pt idx="174">
                  <c:v>40367</c:v>
                </c:pt>
                <c:pt idx="175">
                  <c:v>40368</c:v>
                </c:pt>
                <c:pt idx="176">
                  <c:v>40371</c:v>
                </c:pt>
                <c:pt idx="177">
                  <c:v>40372</c:v>
                </c:pt>
                <c:pt idx="178">
                  <c:v>40373</c:v>
                </c:pt>
                <c:pt idx="179">
                  <c:v>40374</c:v>
                </c:pt>
                <c:pt idx="180">
                  <c:v>40375</c:v>
                </c:pt>
                <c:pt idx="181">
                  <c:v>40378</c:v>
                </c:pt>
                <c:pt idx="182">
                  <c:v>40379</c:v>
                </c:pt>
                <c:pt idx="183">
                  <c:v>40380</c:v>
                </c:pt>
                <c:pt idx="184">
                  <c:v>40381</c:v>
                </c:pt>
                <c:pt idx="185">
                  <c:v>40382</c:v>
                </c:pt>
                <c:pt idx="186">
                  <c:v>40385</c:v>
                </c:pt>
                <c:pt idx="187">
                  <c:v>40386</c:v>
                </c:pt>
                <c:pt idx="188">
                  <c:v>40387</c:v>
                </c:pt>
                <c:pt idx="189">
                  <c:v>40388</c:v>
                </c:pt>
                <c:pt idx="190">
                  <c:v>40389</c:v>
                </c:pt>
                <c:pt idx="191">
                  <c:v>40392</c:v>
                </c:pt>
                <c:pt idx="192">
                  <c:v>40393</c:v>
                </c:pt>
                <c:pt idx="193">
                  <c:v>40394</c:v>
                </c:pt>
                <c:pt idx="194">
                  <c:v>40395</c:v>
                </c:pt>
                <c:pt idx="195">
                  <c:v>40396</c:v>
                </c:pt>
                <c:pt idx="196">
                  <c:v>40399</c:v>
                </c:pt>
                <c:pt idx="197">
                  <c:v>40400</c:v>
                </c:pt>
                <c:pt idx="198">
                  <c:v>40401</c:v>
                </c:pt>
                <c:pt idx="199">
                  <c:v>40402</c:v>
                </c:pt>
                <c:pt idx="200">
                  <c:v>40403</c:v>
                </c:pt>
                <c:pt idx="201">
                  <c:v>40406</c:v>
                </c:pt>
                <c:pt idx="202">
                  <c:v>40407</c:v>
                </c:pt>
                <c:pt idx="203">
                  <c:v>40408</c:v>
                </c:pt>
                <c:pt idx="204">
                  <c:v>40409</c:v>
                </c:pt>
                <c:pt idx="205">
                  <c:v>40410</c:v>
                </c:pt>
                <c:pt idx="206">
                  <c:v>40413</c:v>
                </c:pt>
                <c:pt idx="207">
                  <c:v>40414</c:v>
                </c:pt>
                <c:pt idx="208">
                  <c:v>40415</c:v>
                </c:pt>
                <c:pt idx="209">
                  <c:v>40416</c:v>
                </c:pt>
                <c:pt idx="210">
                  <c:v>40417</c:v>
                </c:pt>
                <c:pt idx="211">
                  <c:v>40420</c:v>
                </c:pt>
                <c:pt idx="212">
                  <c:v>40421</c:v>
                </c:pt>
                <c:pt idx="213">
                  <c:v>40422</c:v>
                </c:pt>
                <c:pt idx="214">
                  <c:v>40423</c:v>
                </c:pt>
                <c:pt idx="215">
                  <c:v>40424</c:v>
                </c:pt>
                <c:pt idx="216">
                  <c:v>40427</c:v>
                </c:pt>
                <c:pt idx="217">
                  <c:v>40428</c:v>
                </c:pt>
                <c:pt idx="218">
                  <c:v>40429</c:v>
                </c:pt>
                <c:pt idx="219">
                  <c:v>40430</c:v>
                </c:pt>
                <c:pt idx="220">
                  <c:v>40431</c:v>
                </c:pt>
                <c:pt idx="221">
                  <c:v>40434</c:v>
                </c:pt>
                <c:pt idx="222">
                  <c:v>40435</c:v>
                </c:pt>
                <c:pt idx="223">
                  <c:v>40436</c:v>
                </c:pt>
                <c:pt idx="224">
                  <c:v>40437</c:v>
                </c:pt>
                <c:pt idx="225">
                  <c:v>40438</c:v>
                </c:pt>
                <c:pt idx="226">
                  <c:v>40441</c:v>
                </c:pt>
                <c:pt idx="227">
                  <c:v>40442</c:v>
                </c:pt>
                <c:pt idx="228">
                  <c:v>40443</c:v>
                </c:pt>
                <c:pt idx="229">
                  <c:v>40444</c:v>
                </c:pt>
                <c:pt idx="230">
                  <c:v>40445</c:v>
                </c:pt>
                <c:pt idx="231">
                  <c:v>40448</c:v>
                </c:pt>
                <c:pt idx="232">
                  <c:v>40449</c:v>
                </c:pt>
                <c:pt idx="233">
                  <c:v>40450</c:v>
                </c:pt>
                <c:pt idx="234">
                  <c:v>40451</c:v>
                </c:pt>
                <c:pt idx="235">
                  <c:v>40452</c:v>
                </c:pt>
                <c:pt idx="236">
                  <c:v>40455</c:v>
                </c:pt>
                <c:pt idx="237">
                  <c:v>40456</c:v>
                </c:pt>
                <c:pt idx="238">
                  <c:v>40457</c:v>
                </c:pt>
                <c:pt idx="239">
                  <c:v>40458</c:v>
                </c:pt>
                <c:pt idx="240">
                  <c:v>40459</c:v>
                </c:pt>
                <c:pt idx="241">
                  <c:v>40462</c:v>
                </c:pt>
                <c:pt idx="242">
                  <c:v>40463</c:v>
                </c:pt>
                <c:pt idx="243">
                  <c:v>40464</c:v>
                </c:pt>
                <c:pt idx="244">
                  <c:v>40465</c:v>
                </c:pt>
                <c:pt idx="245">
                  <c:v>40466</c:v>
                </c:pt>
                <c:pt idx="246">
                  <c:v>40469</c:v>
                </c:pt>
                <c:pt idx="247">
                  <c:v>40470</c:v>
                </c:pt>
                <c:pt idx="248">
                  <c:v>40471</c:v>
                </c:pt>
                <c:pt idx="249">
                  <c:v>40472</c:v>
                </c:pt>
                <c:pt idx="250">
                  <c:v>40473</c:v>
                </c:pt>
                <c:pt idx="251">
                  <c:v>40476</c:v>
                </c:pt>
                <c:pt idx="252">
                  <c:v>40477</c:v>
                </c:pt>
                <c:pt idx="253">
                  <c:v>40478</c:v>
                </c:pt>
                <c:pt idx="254">
                  <c:v>40479</c:v>
                </c:pt>
                <c:pt idx="255">
                  <c:v>40480</c:v>
                </c:pt>
                <c:pt idx="256">
                  <c:v>40483</c:v>
                </c:pt>
                <c:pt idx="257">
                  <c:v>40484</c:v>
                </c:pt>
                <c:pt idx="258">
                  <c:v>40485</c:v>
                </c:pt>
                <c:pt idx="259">
                  <c:v>40486</c:v>
                </c:pt>
                <c:pt idx="260">
                  <c:v>40487</c:v>
                </c:pt>
                <c:pt idx="261">
                  <c:v>40490</c:v>
                </c:pt>
                <c:pt idx="262">
                  <c:v>40491</c:v>
                </c:pt>
                <c:pt idx="263">
                  <c:v>40492</c:v>
                </c:pt>
                <c:pt idx="264">
                  <c:v>40493</c:v>
                </c:pt>
                <c:pt idx="265">
                  <c:v>40494</c:v>
                </c:pt>
                <c:pt idx="266">
                  <c:v>40497</c:v>
                </c:pt>
                <c:pt idx="267">
                  <c:v>40498</c:v>
                </c:pt>
                <c:pt idx="268">
                  <c:v>40499</c:v>
                </c:pt>
                <c:pt idx="269">
                  <c:v>40500</c:v>
                </c:pt>
                <c:pt idx="270">
                  <c:v>40501</c:v>
                </c:pt>
                <c:pt idx="271">
                  <c:v>40504</c:v>
                </c:pt>
                <c:pt idx="272">
                  <c:v>40505</c:v>
                </c:pt>
                <c:pt idx="273">
                  <c:v>40506</c:v>
                </c:pt>
                <c:pt idx="274">
                  <c:v>40507</c:v>
                </c:pt>
                <c:pt idx="275">
                  <c:v>40508</c:v>
                </c:pt>
                <c:pt idx="276">
                  <c:v>40511</c:v>
                </c:pt>
                <c:pt idx="277">
                  <c:v>40512</c:v>
                </c:pt>
                <c:pt idx="278">
                  <c:v>40513</c:v>
                </c:pt>
                <c:pt idx="279">
                  <c:v>40514</c:v>
                </c:pt>
                <c:pt idx="280">
                  <c:v>40515</c:v>
                </c:pt>
                <c:pt idx="281">
                  <c:v>40518</c:v>
                </c:pt>
                <c:pt idx="282">
                  <c:v>40519</c:v>
                </c:pt>
                <c:pt idx="283">
                  <c:v>40520</c:v>
                </c:pt>
                <c:pt idx="284">
                  <c:v>40521</c:v>
                </c:pt>
                <c:pt idx="285">
                  <c:v>40522</c:v>
                </c:pt>
                <c:pt idx="286">
                  <c:v>40525</c:v>
                </c:pt>
                <c:pt idx="287">
                  <c:v>40526</c:v>
                </c:pt>
                <c:pt idx="288">
                  <c:v>40527</c:v>
                </c:pt>
                <c:pt idx="289">
                  <c:v>40528</c:v>
                </c:pt>
                <c:pt idx="290">
                  <c:v>40529</c:v>
                </c:pt>
                <c:pt idx="291">
                  <c:v>40532</c:v>
                </c:pt>
                <c:pt idx="292">
                  <c:v>40533</c:v>
                </c:pt>
                <c:pt idx="293">
                  <c:v>40534</c:v>
                </c:pt>
                <c:pt idx="294">
                  <c:v>40535</c:v>
                </c:pt>
                <c:pt idx="295">
                  <c:v>40536</c:v>
                </c:pt>
                <c:pt idx="296">
                  <c:v>40539</c:v>
                </c:pt>
                <c:pt idx="297">
                  <c:v>40540</c:v>
                </c:pt>
                <c:pt idx="298">
                  <c:v>40541</c:v>
                </c:pt>
                <c:pt idx="299">
                  <c:v>40542</c:v>
                </c:pt>
                <c:pt idx="300">
                  <c:v>40543</c:v>
                </c:pt>
                <c:pt idx="301">
                  <c:v>40546</c:v>
                </c:pt>
                <c:pt idx="302">
                  <c:v>40547</c:v>
                </c:pt>
                <c:pt idx="303">
                  <c:v>40548</c:v>
                </c:pt>
                <c:pt idx="304">
                  <c:v>40549</c:v>
                </c:pt>
                <c:pt idx="305">
                  <c:v>40550</c:v>
                </c:pt>
                <c:pt idx="306">
                  <c:v>40553</c:v>
                </c:pt>
                <c:pt idx="307">
                  <c:v>40554</c:v>
                </c:pt>
                <c:pt idx="308">
                  <c:v>40555</c:v>
                </c:pt>
                <c:pt idx="309">
                  <c:v>40556</c:v>
                </c:pt>
                <c:pt idx="310">
                  <c:v>40557</c:v>
                </c:pt>
                <c:pt idx="311">
                  <c:v>40560</c:v>
                </c:pt>
                <c:pt idx="312">
                  <c:v>40561</c:v>
                </c:pt>
                <c:pt idx="313">
                  <c:v>40562</c:v>
                </c:pt>
                <c:pt idx="314">
                  <c:v>40563</c:v>
                </c:pt>
                <c:pt idx="315">
                  <c:v>40564</c:v>
                </c:pt>
                <c:pt idx="316">
                  <c:v>40567</c:v>
                </c:pt>
                <c:pt idx="317">
                  <c:v>40568</c:v>
                </c:pt>
                <c:pt idx="318">
                  <c:v>40569</c:v>
                </c:pt>
                <c:pt idx="319">
                  <c:v>40570</c:v>
                </c:pt>
                <c:pt idx="320">
                  <c:v>40571</c:v>
                </c:pt>
                <c:pt idx="321">
                  <c:v>40574</c:v>
                </c:pt>
                <c:pt idx="322">
                  <c:v>40575</c:v>
                </c:pt>
                <c:pt idx="323">
                  <c:v>40576</c:v>
                </c:pt>
                <c:pt idx="324">
                  <c:v>40577</c:v>
                </c:pt>
                <c:pt idx="325">
                  <c:v>40578</c:v>
                </c:pt>
                <c:pt idx="326">
                  <c:v>40581</c:v>
                </c:pt>
                <c:pt idx="327">
                  <c:v>40582</c:v>
                </c:pt>
                <c:pt idx="328">
                  <c:v>40583</c:v>
                </c:pt>
                <c:pt idx="329">
                  <c:v>40584</c:v>
                </c:pt>
                <c:pt idx="330">
                  <c:v>40585</c:v>
                </c:pt>
                <c:pt idx="331">
                  <c:v>40588</c:v>
                </c:pt>
                <c:pt idx="332">
                  <c:v>40589</c:v>
                </c:pt>
                <c:pt idx="333">
                  <c:v>40590</c:v>
                </c:pt>
                <c:pt idx="334">
                  <c:v>40591</c:v>
                </c:pt>
                <c:pt idx="335">
                  <c:v>40592</c:v>
                </c:pt>
                <c:pt idx="336">
                  <c:v>40595</c:v>
                </c:pt>
                <c:pt idx="337">
                  <c:v>40596</c:v>
                </c:pt>
                <c:pt idx="338">
                  <c:v>40597</c:v>
                </c:pt>
                <c:pt idx="339">
                  <c:v>40598</c:v>
                </c:pt>
                <c:pt idx="340">
                  <c:v>40599</c:v>
                </c:pt>
                <c:pt idx="341">
                  <c:v>40602</c:v>
                </c:pt>
                <c:pt idx="342">
                  <c:v>40603</c:v>
                </c:pt>
                <c:pt idx="343">
                  <c:v>40604</c:v>
                </c:pt>
                <c:pt idx="344">
                  <c:v>40605</c:v>
                </c:pt>
                <c:pt idx="345">
                  <c:v>40606</c:v>
                </c:pt>
                <c:pt idx="346">
                  <c:v>40609</c:v>
                </c:pt>
                <c:pt idx="347">
                  <c:v>40610</c:v>
                </c:pt>
                <c:pt idx="348">
                  <c:v>40611</c:v>
                </c:pt>
                <c:pt idx="349">
                  <c:v>40612</c:v>
                </c:pt>
                <c:pt idx="350">
                  <c:v>40613</c:v>
                </c:pt>
                <c:pt idx="351">
                  <c:v>40616</c:v>
                </c:pt>
                <c:pt idx="352">
                  <c:v>40617</c:v>
                </c:pt>
                <c:pt idx="353">
                  <c:v>40618</c:v>
                </c:pt>
                <c:pt idx="354">
                  <c:v>40619</c:v>
                </c:pt>
                <c:pt idx="355">
                  <c:v>40620</c:v>
                </c:pt>
                <c:pt idx="356">
                  <c:v>40623</c:v>
                </c:pt>
                <c:pt idx="357">
                  <c:v>40624</c:v>
                </c:pt>
                <c:pt idx="358">
                  <c:v>40625</c:v>
                </c:pt>
                <c:pt idx="359">
                  <c:v>40626</c:v>
                </c:pt>
                <c:pt idx="360">
                  <c:v>40627</c:v>
                </c:pt>
                <c:pt idx="361">
                  <c:v>40630</c:v>
                </c:pt>
                <c:pt idx="362">
                  <c:v>40631</c:v>
                </c:pt>
                <c:pt idx="363">
                  <c:v>40632</c:v>
                </c:pt>
                <c:pt idx="364">
                  <c:v>40633</c:v>
                </c:pt>
                <c:pt idx="365">
                  <c:v>40634</c:v>
                </c:pt>
                <c:pt idx="366">
                  <c:v>40637</c:v>
                </c:pt>
                <c:pt idx="367">
                  <c:v>40638</c:v>
                </c:pt>
                <c:pt idx="368">
                  <c:v>40639</c:v>
                </c:pt>
                <c:pt idx="369">
                  <c:v>40640</c:v>
                </c:pt>
                <c:pt idx="370">
                  <c:v>40641</c:v>
                </c:pt>
                <c:pt idx="371">
                  <c:v>40644</c:v>
                </c:pt>
                <c:pt idx="372">
                  <c:v>40645</c:v>
                </c:pt>
                <c:pt idx="373">
                  <c:v>40646</c:v>
                </c:pt>
                <c:pt idx="374">
                  <c:v>40647</c:v>
                </c:pt>
                <c:pt idx="375">
                  <c:v>40648</c:v>
                </c:pt>
                <c:pt idx="376">
                  <c:v>40651</c:v>
                </c:pt>
                <c:pt idx="377">
                  <c:v>40652</c:v>
                </c:pt>
                <c:pt idx="378">
                  <c:v>40653</c:v>
                </c:pt>
                <c:pt idx="379">
                  <c:v>40654</c:v>
                </c:pt>
                <c:pt idx="380">
                  <c:v>40659</c:v>
                </c:pt>
                <c:pt idx="381">
                  <c:v>40660</c:v>
                </c:pt>
                <c:pt idx="382">
                  <c:v>40661</c:v>
                </c:pt>
                <c:pt idx="383">
                  <c:v>40662</c:v>
                </c:pt>
                <c:pt idx="384">
                  <c:v>40665</c:v>
                </c:pt>
                <c:pt idx="385">
                  <c:v>40666</c:v>
                </c:pt>
                <c:pt idx="386">
                  <c:v>40667</c:v>
                </c:pt>
                <c:pt idx="387">
                  <c:v>40668</c:v>
                </c:pt>
                <c:pt idx="388">
                  <c:v>40669</c:v>
                </c:pt>
                <c:pt idx="389">
                  <c:v>40672</c:v>
                </c:pt>
                <c:pt idx="390">
                  <c:v>40673</c:v>
                </c:pt>
                <c:pt idx="391">
                  <c:v>40674</c:v>
                </c:pt>
                <c:pt idx="392">
                  <c:v>40675</c:v>
                </c:pt>
                <c:pt idx="393">
                  <c:v>40676</c:v>
                </c:pt>
                <c:pt idx="394">
                  <c:v>40679</c:v>
                </c:pt>
                <c:pt idx="395">
                  <c:v>40680</c:v>
                </c:pt>
                <c:pt idx="396">
                  <c:v>40681</c:v>
                </c:pt>
                <c:pt idx="397">
                  <c:v>40682</c:v>
                </c:pt>
                <c:pt idx="398">
                  <c:v>40683</c:v>
                </c:pt>
                <c:pt idx="399">
                  <c:v>40686</c:v>
                </c:pt>
                <c:pt idx="400">
                  <c:v>40687</c:v>
                </c:pt>
                <c:pt idx="401">
                  <c:v>40688</c:v>
                </c:pt>
                <c:pt idx="402">
                  <c:v>40689</c:v>
                </c:pt>
                <c:pt idx="403">
                  <c:v>40690</c:v>
                </c:pt>
                <c:pt idx="404">
                  <c:v>40693</c:v>
                </c:pt>
                <c:pt idx="405">
                  <c:v>40694</c:v>
                </c:pt>
                <c:pt idx="406">
                  <c:v>40695</c:v>
                </c:pt>
                <c:pt idx="407">
                  <c:v>40696</c:v>
                </c:pt>
                <c:pt idx="408">
                  <c:v>40697</c:v>
                </c:pt>
                <c:pt idx="409">
                  <c:v>40700</c:v>
                </c:pt>
                <c:pt idx="410">
                  <c:v>40701</c:v>
                </c:pt>
                <c:pt idx="411">
                  <c:v>40702</c:v>
                </c:pt>
                <c:pt idx="412">
                  <c:v>40703</c:v>
                </c:pt>
                <c:pt idx="413">
                  <c:v>40704</c:v>
                </c:pt>
                <c:pt idx="414">
                  <c:v>40707</c:v>
                </c:pt>
                <c:pt idx="415">
                  <c:v>40708</c:v>
                </c:pt>
                <c:pt idx="416">
                  <c:v>40709</c:v>
                </c:pt>
                <c:pt idx="417">
                  <c:v>40710</c:v>
                </c:pt>
                <c:pt idx="418">
                  <c:v>40711</c:v>
                </c:pt>
                <c:pt idx="419">
                  <c:v>40714</c:v>
                </c:pt>
                <c:pt idx="420">
                  <c:v>40715</c:v>
                </c:pt>
                <c:pt idx="421">
                  <c:v>40716</c:v>
                </c:pt>
                <c:pt idx="422">
                  <c:v>40717</c:v>
                </c:pt>
                <c:pt idx="423">
                  <c:v>40718</c:v>
                </c:pt>
                <c:pt idx="424">
                  <c:v>40721</c:v>
                </c:pt>
                <c:pt idx="425">
                  <c:v>40722</c:v>
                </c:pt>
                <c:pt idx="426">
                  <c:v>40723</c:v>
                </c:pt>
                <c:pt idx="427">
                  <c:v>40724</c:v>
                </c:pt>
                <c:pt idx="428">
                  <c:v>40725</c:v>
                </c:pt>
                <c:pt idx="429">
                  <c:v>40728</c:v>
                </c:pt>
                <c:pt idx="430">
                  <c:v>40729</c:v>
                </c:pt>
                <c:pt idx="431">
                  <c:v>40730</c:v>
                </c:pt>
                <c:pt idx="432">
                  <c:v>40731</c:v>
                </c:pt>
                <c:pt idx="433">
                  <c:v>40732</c:v>
                </c:pt>
                <c:pt idx="434">
                  <c:v>40735</c:v>
                </c:pt>
                <c:pt idx="435">
                  <c:v>40736</c:v>
                </c:pt>
                <c:pt idx="436">
                  <c:v>40737</c:v>
                </c:pt>
                <c:pt idx="437">
                  <c:v>40738</c:v>
                </c:pt>
                <c:pt idx="438">
                  <c:v>40739</c:v>
                </c:pt>
                <c:pt idx="439">
                  <c:v>40742</c:v>
                </c:pt>
                <c:pt idx="440">
                  <c:v>40743</c:v>
                </c:pt>
                <c:pt idx="441">
                  <c:v>40744</c:v>
                </c:pt>
                <c:pt idx="442">
                  <c:v>40745</c:v>
                </c:pt>
                <c:pt idx="443">
                  <c:v>40746</c:v>
                </c:pt>
                <c:pt idx="444">
                  <c:v>40749</c:v>
                </c:pt>
                <c:pt idx="445">
                  <c:v>40750</c:v>
                </c:pt>
                <c:pt idx="446">
                  <c:v>40751</c:v>
                </c:pt>
                <c:pt idx="447">
                  <c:v>40752</c:v>
                </c:pt>
                <c:pt idx="448">
                  <c:v>40753</c:v>
                </c:pt>
                <c:pt idx="449">
                  <c:v>40756</c:v>
                </c:pt>
                <c:pt idx="450">
                  <c:v>40757</c:v>
                </c:pt>
                <c:pt idx="451">
                  <c:v>40758</c:v>
                </c:pt>
                <c:pt idx="452">
                  <c:v>40759</c:v>
                </c:pt>
                <c:pt idx="453">
                  <c:v>40760</c:v>
                </c:pt>
                <c:pt idx="454">
                  <c:v>40763</c:v>
                </c:pt>
                <c:pt idx="455">
                  <c:v>40764</c:v>
                </c:pt>
                <c:pt idx="456">
                  <c:v>40765</c:v>
                </c:pt>
                <c:pt idx="457">
                  <c:v>40766</c:v>
                </c:pt>
                <c:pt idx="458">
                  <c:v>40767</c:v>
                </c:pt>
                <c:pt idx="459">
                  <c:v>40770</c:v>
                </c:pt>
                <c:pt idx="460">
                  <c:v>40771</c:v>
                </c:pt>
                <c:pt idx="461">
                  <c:v>40772</c:v>
                </c:pt>
                <c:pt idx="462">
                  <c:v>40773</c:v>
                </c:pt>
                <c:pt idx="463">
                  <c:v>40774</c:v>
                </c:pt>
                <c:pt idx="464">
                  <c:v>40777</c:v>
                </c:pt>
                <c:pt idx="465">
                  <c:v>40778</c:v>
                </c:pt>
                <c:pt idx="466">
                  <c:v>40779</c:v>
                </c:pt>
                <c:pt idx="467">
                  <c:v>40780</c:v>
                </c:pt>
                <c:pt idx="468">
                  <c:v>40781</c:v>
                </c:pt>
                <c:pt idx="469">
                  <c:v>40784</c:v>
                </c:pt>
                <c:pt idx="470">
                  <c:v>40785</c:v>
                </c:pt>
                <c:pt idx="471">
                  <c:v>40786</c:v>
                </c:pt>
                <c:pt idx="472">
                  <c:v>40787</c:v>
                </c:pt>
                <c:pt idx="473">
                  <c:v>40788</c:v>
                </c:pt>
                <c:pt idx="474">
                  <c:v>40791</c:v>
                </c:pt>
                <c:pt idx="475">
                  <c:v>40792</c:v>
                </c:pt>
                <c:pt idx="476">
                  <c:v>40793</c:v>
                </c:pt>
                <c:pt idx="477">
                  <c:v>40794</c:v>
                </c:pt>
                <c:pt idx="478">
                  <c:v>40795</c:v>
                </c:pt>
                <c:pt idx="479">
                  <c:v>40798</c:v>
                </c:pt>
                <c:pt idx="480">
                  <c:v>40799</c:v>
                </c:pt>
                <c:pt idx="481">
                  <c:v>40800</c:v>
                </c:pt>
                <c:pt idx="482">
                  <c:v>40801</c:v>
                </c:pt>
                <c:pt idx="483">
                  <c:v>40802</c:v>
                </c:pt>
                <c:pt idx="484">
                  <c:v>40805</c:v>
                </c:pt>
                <c:pt idx="485">
                  <c:v>40806</c:v>
                </c:pt>
                <c:pt idx="486">
                  <c:v>40807</c:v>
                </c:pt>
                <c:pt idx="487">
                  <c:v>40808</c:v>
                </c:pt>
                <c:pt idx="488">
                  <c:v>40809</c:v>
                </c:pt>
                <c:pt idx="489">
                  <c:v>40812</c:v>
                </c:pt>
                <c:pt idx="490">
                  <c:v>40813</c:v>
                </c:pt>
                <c:pt idx="491">
                  <c:v>40814</c:v>
                </c:pt>
                <c:pt idx="492">
                  <c:v>40815</c:v>
                </c:pt>
                <c:pt idx="493">
                  <c:v>40816</c:v>
                </c:pt>
                <c:pt idx="494">
                  <c:v>40819</c:v>
                </c:pt>
                <c:pt idx="495">
                  <c:v>40820</c:v>
                </c:pt>
                <c:pt idx="496">
                  <c:v>40821</c:v>
                </c:pt>
                <c:pt idx="497">
                  <c:v>40822</c:v>
                </c:pt>
                <c:pt idx="498">
                  <c:v>40823</c:v>
                </c:pt>
                <c:pt idx="499">
                  <c:v>40826</c:v>
                </c:pt>
                <c:pt idx="500">
                  <c:v>40827</c:v>
                </c:pt>
                <c:pt idx="501">
                  <c:v>40828</c:v>
                </c:pt>
                <c:pt idx="502">
                  <c:v>40829</c:v>
                </c:pt>
                <c:pt idx="503">
                  <c:v>40830</c:v>
                </c:pt>
                <c:pt idx="504">
                  <c:v>40833</c:v>
                </c:pt>
                <c:pt idx="505">
                  <c:v>40834</c:v>
                </c:pt>
                <c:pt idx="506">
                  <c:v>40835</c:v>
                </c:pt>
                <c:pt idx="507">
                  <c:v>40836</c:v>
                </c:pt>
                <c:pt idx="508">
                  <c:v>40837</c:v>
                </c:pt>
                <c:pt idx="509">
                  <c:v>40840</c:v>
                </c:pt>
                <c:pt idx="510">
                  <c:v>40841</c:v>
                </c:pt>
                <c:pt idx="511">
                  <c:v>40842</c:v>
                </c:pt>
                <c:pt idx="512">
                  <c:v>40843</c:v>
                </c:pt>
                <c:pt idx="513">
                  <c:v>40844</c:v>
                </c:pt>
                <c:pt idx="514">
                  <c:v>40847</c:v>
                </c:pt>
                <c:pt idx="515">
                  <c:v>40848</c:v>
                </c:pt>
                <c:pt idx="516">
                  <c:v>40849</c:v>
                </c:pt>
                <c:pt idx="517">
                  <c:v>40850</c:v>
                </c:pt>
                <c:pt idx="518">
                  <c:v>40851</c:v>
                </c:pt>
                <c:pt idx="519">
                  <c:v>40854</c:v>
                </c:pt>
                <c:pt idx="520">
                  <c:v>40855</c:v>
                </c:pt>
                <c:pt idx="521">
                  <c:v>40856</c:v>
                </c:pt>
                <c:pt idx="522">
                  <c:v>40857</c:v>
                </c:pt>
                <c:pt idx="523">
                  <c:v>40858</c:v>
                </c:pt>
                <c:pt idx="524">
                  <c:v>40861</c:v>
                </c:pt>
                <c:pt idx="525">
                  <c:v>40862</c:v>
                </c:pt>
                <c:pt idx="526">
                  <c:v>40863</c:v>
                </c:pt>
                <c:pt idx="527">
                  <c:v>40864</c:v>
                </c:pt>
                <c:pt idx="528">
                  <c:v>40865</c:v>
                </c:pt>
                <c:pt idx="529">
                  <c:v>40868</c:v>
                </c:pt>
                <c:pt idx="530">
                  <c:v>40869</c:v>
                </c:pt>
                <c:pt idx="531">
                  <c:v>40870</c:v>
                </c:pt>
                <c:pt idx="532">
                  <c:v>40871</c:v>
                </c:pt>
                <c:pt idx="533">
                  <c:v>40872</c:v>
                </c:pt>
                <c:pt idx="534">
                  <c:v>40875</c:v>
                </c:pt>
                <c:pt idx="535">
                  <c:v>40876</c:v>
                </c:pt>
                <c:pt idx="536">
                  <c:v>40877</c:v>
                </c:pt>
                <c:pt idx="537">
                  <c:v>40878</c:v>
                </c:pt>
                <c:pt idx="538">
                  <c:v>40879</c:v>
                </c:pt>
                <c:pt idx="539">
                  <c:v>40882</c:v>
                </c:pt>
                <c:pt idx="540">
                  <c:v>40883</c:v>
                </c:pt>
                <c:pt idx="541">
                  <c:v>40884</c:v>
                </c:pt>
                <c:pt idx="542">
                  <c:v>40885</c:v>
                </c:pt>
                <c:pt idx="543">
                  <c:v>40886</c:v>
                </c:pt>
                <c:pt idx="544">
                  <c:v>40889</c:v>
                </c:pt>
                <c:pt idx="545">
                  <c:v>40890</c:v>
                </c:pt>
                <c:pt idx="546">
                  <c:v>40891</c:v>
                </c:pt>
                <c:pt idx="547">
                  <c:v>40892</c:v>
                </c:pt>
                <c:pt idx="548">
                  <c:v>40893</c:v>
                </c:pt>
                <c:pt idx="549">
                  <c:v>40896</c:v>
                </c:pt>
                <c:pt idx="550">
                  <c:v>40897</c:v>
                </c:pt>
                <c:pt idx="551">
                  <c:v>40898</c:v>
                </c:pt>
                <c:pt idx="552">
                  <c:v>40899</c:v>
                </c:pt>
                <c:pt idx="553">
                  <c:v>40900</c:v>
                </c:pt>
                <c:pt idx="554">
                  <c:v>40904</c:v>
                </c:pt>
                <c:pt idx="555">
                  <c:v>40905</c:v>
                </c:pt>
                <c:pt idx="556">
                  <c:v>40906</c:v>
                </c:pt>
                <c:pt idx="557">
                  <c:v>40907</c:v>
                </c:pt>
                <c:pt idx="558">
                  <c:v>40910</c:v>
                </c:pt>
                <c:pt idx="559">
                  <c:v>40911</c:v>
                </c:pt>
                <c:pt idx="560">
                  <c:v>40912</c:v>
                </c:pt>
                <c:pt idx="561">
                  <c:v>40913</c:v>
                </c:pt>
                <c:pt idx="562">
                  <c:v>40914</c:v>
                </c:pt>
                <c:pt idx="563">
                  <c:v>40917</c:v>
                </c:pt>
                <c:pt idx="564">
                  <c:v>40918</c:v>
                </c:pt>
                <c:pt idx="565">
                  <c:v>40919</c:v>
                </c:pt>
                <c:pt idx="566">
                  <c:v>40920</c:v>
                </c:pt>
                <c:pt idx="567">
                  <c:v>40921</c:v>
                </c:pt>
                <c:pt idx="568">
                  <c:v>40924</c:v>
                </c:pt>
                <c:pt idx="569">
                  <c:v>40925</c:v>
                </c:pt>
                <c:pt idx="570">
                  <c:v>40926</c:v>
                </c:pt>
                <c:pt idx="571">
                  <c:v>40927</c:v>
                </c:pt>
                <c:pt idx="572">
                  <c:v>40928</c:v>
                </c:pt>
                <c:pt idx="573">
                  <c:v>40931</c:v>
                </c:pt>
                <c:pt idx="574">
                  <c:v>40932</c:v>
                </c:pt>
                <c:pt idx="575">
                  <c:v>40933</c:v>
                </c:pt>
                <c:pt idx="576">
                  <c:v>40934</c:v>
                </c:pt>
                <c:pt idx="577">
                  <c:v>40935</c:v>
                </c:pt>
                <c:pt idx="578">
                  <c:v>40938</c:v>
                </c:pt>
                <c:pt idx="579">
                  <c:v>40939</c:v>
                </c:pt>
                <c:pt idx="580">
                  <c:v>40940</c:v>
                </c:pt>
                <c:pt idx="581">
                  <c:v>40941</c:v>
                </c:pt>
                <c:pt idx="582">
                  <c:v>40942</c:v>
                </c:pt>
                <c:pt idx="583">
                  <c:v>40945</c:v>
                </c:pt>
                <c:pt idx="584">
                  <c:v>40946</c:v>
                </c:pt>
                <c:pt idx="585">
                  <c:v>40947</c:v>
                </c:pt>
                <c:pt idx="586">
                  <c:v>40948</c:v>
                </c:pt>
                <c:pt idx="587">
                  <c:v>40949</c:v>
                </c:pt>
                <c:pt idx="588">
                  <c:v>40952</c:v>
                </c:pt>
                <c:pt idx="589">
                  <c:v>40953</c:v>
                </c:pt>
                <c:pt idx="590">
                  <c:v>40954</c:v>
                </c:pt>
                <c:pt idx="591">
                  <c:v>40955</c:v>
                </c:pt>
                <c:pt idx="592">
                  <c:v>40956</c:v>
                </c:pt>
                <c:pt idx="593">
                  <c:v>40959</c:v>
                </c:pt>
                <c:pt idx="594">
                  <c:v>40960</c:v>
                </c:pt>
                <c:pt idx="595">
                  <c:v>40961</c:v>
                </c:pt>
                <c:pt idx="596">
                  <c:v>40962</c:v>
                </c:pt>
                <c:pt idx="597">
                  <c:v>40963</c:v>
                </c:pt>
                <c:pt idx="598">
                  <c:v>40966</c:v>
                </c:pt>
                <c:pt idx="599">
                  <c:v>40967</c:v>
                </c:pt>
                <c:pt idx="600">
                  <c:v>40968</c:v>
                </c:pt>
                <c:pt idx="601">
                  <c:v>40969</c:v>
                </c:pt>
                <c:pt idx="602">
                  <c:v>40970</c:v>
                </c:pt>
                <c:pt idx="603">
                  <c:v>40973</c:v>
                </c:pt>
                <c:pt idx="604">
                  <c:v>40974</c:v>
                </c:pt>
                <c:pt idx="605">
                  <c:v>40975</c:v>
                </c:pt>
                <c:pt idx="606">
                  <c:v>40976</c:v>
                </c:pt>
                <c:pt idx="607">
                  <c:v>40977</c:v>
                </c:pt>
                <c:pt idx="608">
                  <c:v>40980</c:v>
                </c:pt>
                <c:pt idx="609">
                  <c:v>40981</c:v>
                </c:pt>
                <c:pt idx="610">
                  <c:v>40982</c:v>
                </c:pt>
                <c:pt idx="611">
                  <c:v>40983</c:v>
                </c:pt>
                <c:pt idx="612">
                  <c:v>40984</c:v>
                </c:pt>
                <c:pt idx="613">
                  <c:v>40987</c:v>
                </c:pt>
                <c:pt idx="614">
                  <c:v>40988</c:v>
                </c:pt>
                <c:pt idx="615">
                  <c:v>40989</c:v>
                </c:pt>
                <c:pt idx="616">
                  <c:v>40990</c:v>
                </c:pt>
                <c:pt idx="617">
                  <c:v>40991</c:v>
                </c:pt>
                <c:pt idx="618">
                  <c:v>40994</c:v>
                </c:pt>
                <c:pt idx="619">
                  <c:v>40995</c:v>
                </c:pt>
                <c:pt idx="620">
                  <c:v>40996</c:v>
                </c:pt>
                <c:pt idx="621">
                  <c:v>40997</c:v>
                </c:pt>
                <c:pt idx="622">
                  <c:v>40998</c:v>
                </c:pt>
                <c:pt idx="623">
                  <c:v>41001</c:v>
                </c:pt>
                <c:pt idx="624">
                  <c:v>41002</c:v>
                </c:pt>
                <c:pt idx="625">
                  <c:v>41003</c:v>
                </c:pt>
                <c:pt idx="626">
                  <c:v>41004</c:v>
                </c:pt>
                <c:pt idx="627">
                  <c:v>41009</c:v>
                </c:pt>
                <c:pt idx="628">
                  <c:v>41010</c:v>
                </c:pt>
                <c:pt idx="629">
                  <c:v>41011</c:v>
                </c:pt>
                <c:pt idx="630">
                  <c:v>41012</c:v>
                </c:pt>
                <c:pt idx="631">
                  <c:v>41015</c:v>
                </c:pt>
                <c:pt idx="632">
                  <c:v>41016</c:v>
                </c:pt>
                <c:pt idx="633">
                  <c:v>41017</c:v>
                </c:pt>
                <c:pt idx="634">
                  <c:v>41018</c:v>
                </c:pt>
                <c:pt idx="635">
                  <c:v>41019</c:v>
                </c:pt>
                <c:pt idx="636">
                  <c:v>41022</c:v>
                </c:pt>
                <c:pt idx="637">
                  <c:v>41023</c:v>
                </c:pt>
                <c:pt idx="638">
                  <c:v>41024</c:v>
                </c:pt>
                <c:pt idx="639">
                  <c:v>41025</c:v>
                </c:pt>
                <c:pt idx="640">
                  <c:v>41026</c:v>
                </c:pt>
                <c:pt idx="641">
                  <c:v>41029</c:v>
                </c:pt>
                <c:pt idx="642">
                  <c:v>41030</c:v>
                </c:pt>
                <c:pt idx="643">
                  <c:v>41031</c:v>
                </c:pt>
                <c:pt idx="644">
                  <c:v>41032</c:v>
                </c:pt>
                <c:pt idx="645">
                  <c:v>41033</c:v>
                </c:pt>
                <c:pt idx="646">
                  <c:v>41036</c:v>
                </c:pt>
                <c:pt idx="647">
                  <c:v>41037</c:v>
                </c:pt>
                <c:pt idx="648">
                  <c:v>41038</c:v>
                </c:pt>
                <c:pt idx="649">
                  <c:v>41039</c:v>
                </c:pt>
                <c:pt idx="650">
                  <c:v>41040</c:v>
                </c:pt>
                <c:pt idx="651">
                  <c:v>41043</c:v>
                </c:pt>
                <c:pt idx="652">
                  <c:v>41044</c:v>
                </c:pt>
                <c:pt idx="653">
                  <c:v>41045</c:v>
                </c:pt>
                <c:pt idx="654">
                  <c:v>41046</c:v>
                </c:pt>
                <c:pt idx="655">
                  <c:v>41047</c:v>
                </c:pt>
                <c:pt idx="656">
                  <c:v>41050</c:v>
                </c:pt>
                <c:pt idx="657">
                  <c:v>41051</c:v>
                </c:pt>
                <c:pt idx="658">
                  <c:v>41052</c:v>
                </c:pt>
                <c:pt idx="659">
                  <c:v>41053</c:v>
                </c:pt>
                <c:pt idx="660">
                  <c:v>41054</c:v>
                </c:pt>
                <c:pt idx="661">
                  <c:v>41057</c:v>
                </c:pt>
                <c:pt idx="662">
                  <c:v>41058</c:v>
                </c:pt>
                <c:pt idx="663">
                  <c:v>41059</c:v>
                </c:pt>
                <c:pt idx="664">
                  <c:v>41060</c:v>
                </c:pt>
                <c:pt idx="665">
                  <c:v>41061</c:v>
                </c:pt>
                <c:pt idx="666">
                  <c:v>41064</c:v>
                </c:pt>
                <c:pt idx="667">
                  <c:v>41065</c:v>
                </c:pt>
                <c:pt idx="668">
                  <c:v>41066</c:v>
                </c:pt>
                <c:pt idx="669">
                  <c:v>41067</c:v>
                </c:pt>
                <c:pt idx="670">
                  <c:v>41068</c:v>
                </c:pt>
                <c:pt idx="671">
                  <c:v>41071</c:v>
                </c:pt>
                <c:pt idx="672">
                  <c:v>41072</c:v>
                </c:pt>
                <c:pt idx="673">
                  <c:v>41073</c:v>
                </c:pt>
                <c:pt idx="674">
                  <c:v>41074</c:v>
                </c:pt>
                <c:pt idx="675">
                  <c:v>41075</c:v>
                </c:pt>
                <c:pt idx="676">
                  <c:v>41078</c:v>
                </c:pt>
                <c:pt idx="677">
                  <c:v>41079</c:v>
                </c:pt>
                <c:pt idx="678">
                  <c:v>41080</c:v>
                </c:pt>
                <c:pt idx="679">
                  <c:v>41081</c:v>
                </c:pt>
                <c:pt idx="680">
                  <c:v>41082</c:v>
                </c:pt>
                <c:pt idx="681">
                  <c:v>41085</c:v>
                </c:pt>
                <c:pt idx="682">
                  <c:v>41086</c:v>
                </c:pt>
                <c:pt idx="683">
                  <c:v>41087</c:v>
                </c:pt>
                <c:pt idx="684">
                  <c:v>41088</c:v>
                </c:pt>
                <c:pt idx="685">
                  <c:v>41089</c:v>
                </c:pt>
                <c:pt idx="686">
                  <c:v>41092</c:v>
                </c:pt>
                <c:pt idx="687">
                  <c:v>41093</c:v>
                </c:pt>
                <c:pt idx="688">
                  <c:v>41094</c:v>
                </c:pt>
                <c:pt idx="689">
                  <c:v>41095</c:v>
                </c:pt>
                <c:pt idx="690">
                  <c:v>41096</c:v>
                </c:pt>
                <c:pt idx="691">
                  <c:v>41099</c:v>
                </c:pt>
                <c:pt idx="692">
                  <c:v>41100</c:v>
                </c:pt>
                <c:pt idx="693">
                  <c:v>41101</c:v>
                </c:pt>
                <c:pt idx="694">
                  <c:v>41102</c:v>
                </c:pt>
                <c:pt idx="695">
                  <c:v>41103</c:v>
                </c:pt>
                <c:pt idx="696">
                  <c:v>41106</c:v>
                </c:pt>
                <c:pt idx="697">
                  <c:v>41107</c:v>
                </c:pt>
                <c:pt idx="698">
                  <c:v>41108</c:v>
                </c:pt>
                <c:pt idx="699">
                  <c:v>41109</c:v>
                </c:pt>
                <c:pt idx="700">
                  <c:v>41110</c:v>
                </c:pt>
                <c:pt idx="701">
                  <c:v>41113</c:v>
                </c:pt>
                <c:pt idx="702">
                  <c:v>41114</c:v>
                </c:pt>
                <c:pt idx="703">
                  <c:v>41115</c:v>
                </c:pt>
                <c:pt idx="704">
                  <c:v>41116</c:v>
                </c:pt>
                <c:pt idx="705">
                  <c:v>41117</c:v>
                </c:pt>
                <c:pt idx="706">
                  <c:v>41120</c:v>
                </c:pt>
                <c:pt idx="707">
                  <c:v>41121</c:v>
                </c:pt>
                <c:pt idx="708">
                  <c:v>41122</c:v>
                </c:pt>
                <c:pt idx="709">
                  <c:v>41123</c:v>
                </c:pt>
                <c:pt idx="710">
                  <c:v>41124</c:v>
                </c:pt>
                <c:pt idx="711">
                  <c:v>41127</c:v>
                </c:pt>
                <c:pt idx="712">
                  <c:v>41128</c:v>
                </c:pt>
                <c:pt idx="713">
                  <c:v>41129</c:v>
                </c:pt>
                <c:pt idx="714">
                  <c:v>41130</c:v>
                </c:pt>
                <c:pt idx="715">
                  <c:v>41131</c:v>
                </c:pt>
                <c:pt idx="716">
                  <c:v>41134</c:v>
                </c:pt>
                <c:pt idx="717">
                  <c:v>41135</c:v>
                </c:pt>
                <c:pt idx="718">
                  <c:v>41136</c:v>
                </c:pt>
                <c:pt idx="719">
                  <c:v>41137</c:v>
                </c:pt>
                <c:pt idx="720">
                  <c:v>41138</c:v>
                </c:pt>
                <c:pt idx="721">
                  <c:v>41141</c:v>
                </c:pt>
                <c:pt idx="722">
                  <c:v>41142</c:v>
                </c:pt>
                <c:pt idx="723">
                  <c:v>41143</c:v>
                </c:pt>
                <c:pt idx="724">
                  <c:v>41144</c:v>
                </c:pt>
                <c:pt idx="725">
                  <c:v>41145</c:v>
                </c:pt>
                <c:pt idx="726">
                  <c:v>41148</c:v>
                </c:pt>
                <c:pt idx="727">
                  <c:v>41149</c:v>
                </c:pt>
                <c:pt idx="728">
                  <c:v>41150</c:v>
                </c:pt>
                <c:pt idx="729">
                  <c:v>41151</c:v>
                </c:pt>
                <c:pt idx="730">
                  <c:v>41152</c:v>
                </c:pt>
                <c:pt idx="731">
                  <c:v>41155</c:v>
                </c:pt>
                <c:pt idx="732">
                  <c:v>41156</c:v>
                </c:pt>
                <c:pt idx="733">
                  <c:v>41157</c:v>
                </c:pt>
                <c:pt idx="734">
                  <c:v>41158</c:v>
                </c:pt>
                <c:pt idx="735">
                  <c:v>41159</c:v>
                </c:pt>
                <c:pt idx="736">
                  <c:v>41162</c:v>
                </c:pt>
                <c:pt idx="737">
                  <c:v>41163</c:v>
                </c:pt>
                <c:pt idx="738">
                  <c:v>41164</c:v>
                </c:pt>
                <c:pt idx="739">
                  <c:v>41165</c:v>
                </c:pt>
                <c:pt idx="740">
                  <c:v>41166</c:v>
                </c:pt>
                <c:pt idx="741">
                  <c:v>41169</c:v>
                </c:pt>
                <c:pt idx="742">
                  <c:v>41170</c:v>
                </c:pt>
                <c:pt idx="743">
                  <c:v>41171</c:v>
                </c:pt>
                <c:pt idx="744">
                  <c:v>41172</c:v>
                </c:pt>
                <c:pt idx="745">
                  <c:v>41173</c:v>
                </c:pt>
                <c:pt idx="746">
                  <c:v>41176</c:v>
                </c:pt>
                <c:pt idx="747">
                  <c:v>41177</c:v>
                </c:pt>
                <c:pt idx="748">
                  <c:v>41178</c:v>
                </c:pt>
                <c:pt idx="749">
                  <c:v>41179</c:v>
                </c:pt>
                <c:pt idx="750">
                  <c:v>41180</c:v>
                </c:pt>
                <c:pt idx="751">
                  <c:v>41183</c:v>
                </c:pt>
                <c:pt idx="752">
                  <c:v>41184</c:v>
                </c:pt>
                <c:pt idx="753">
                  <c:v>41185</c:v>
                </c:pt>
                <c:pt idx="754">
                  <c:v>41186</c:v>
                </c:pt>
                <c:pt idx="755">
                  <c:v>41187</c:v>
                </c:pt>
                <c:pt idx="756">
                  <c:v>41190</c:v>
                </c:pt>
                <c:pt idx="757">
                  <c:v>41191</c:v>
                </c:pt>
                <c:pt idx="758">
                  <c:v>41192</c:v>
                </c:pt>
                <c:pt idx="759">
                  <c:v>41193</c:v>
                </c:pt>
                <c:pt idx="760">
                  <c:v>41194</c:v>
                </c:pt>
                <c:pt idx="761">
                  <c:v>41197</c:v>
                </c:pt>
                <c:pt idx="762">
                  <c:v>41198</c:v>
                </c:pt>
                <c:pt idx="763">
                  <c:v>41199</c:v>
                </c:pt>
                <c:pt idx="764">
                  <c:v>41200</c:v>
                </c:pt>
                <c:pt idx="765">
                  <c:v>41201</c:v>
                </c:pt>
                <c:pt idx="766">
                  <c:v>41204</c:v>
                </c:pt>
                <c:pt idx="767">
                  <c:v>41205</c:v>
                </c:pt>
                <c:pt idx="768">
                  <c:v>41206</c:v>
                </c:pt>
                <c:pt idx="769">
                  <c:v>41207</c:v>
                </c:pt>
                <c:pt idx="770">
                  <c:v>41208</c:v>
                </c:pt>
                <c:pt idx="771">
                  <c:v>41211</c:v>
                </c:pt>
                <c:pt idx="772">
                  <c:v>41212</c:v>
                </c:pt>
                <c:pt idx="773">
                  <c:v>41213</c:v>
                </c:pt>
                <c:pt idx="774">
                  <c:v>41214</c:v>
                </c:pt>
                <c:pt idx="775">
                  <c:v>41215</c:v>
                </c:pt>
                <c:pt idx="776">
                  <c:v>41218</c:v>
                </c:pt>
                <c:pt idx="777">
                  <c:v>41219</c:v>
                </c:pt>
                <c:pt idx="778">
                  <c:v>41220</c:v>
                </c:pt>
                <c:pt idx="779">
                  <c:v>41221</c:v>
                </c:pt>
                <c:pt idx="780">
                  <c:v>41222</c:v>
                </c:pt>
                <c:pt idx="781">
                  <c:v>41225</c:v>
                </c:pt>
                <c:pt idx="782">
                  <c:v>41226</c:v>
                </c:pt>
                <c:pt idx="783">
                  <c:v>41227</c:v>
                </c:pt>
                <c:pt idx="784">
                  <c:v>41228</c:v>
                </c:pt>
                <c:pt idx="785">
                  <c:v>41229</c:v>
                </c:pt>
                <c:pt idx="786">
                  <c:v>41232</c:v>
                </c:pt>
                <c:pt idx="787">
                  <c:v>41233</c:v>
                </c:pt>
                <c:pt idx="788">
                  <c:v>41234</c:v>
                </c:pt>
                <c:pt idx="789">
                  <c:v>41235</c:v>
                </c:pt>
                <c:pt idx="790">
                  <c:v>41236</c:v>
                </c:pt>
                <c:pt idx="791">
                  <c:v>41239</c:v>
                </c:pt>
                <c:pt idx="792">
                  <c:v>41240</c:v>
                </c:pt>
                <c:pt idx="793">
                  <c:v>41241</c:v>
                </c:pt>
                <c:pt idx="794">
                  <c:v>41242</c:v>
                </c:pt>
                <c:pt idx="795">
                  <c:v>41243</c:v>
                </c:pt>
                <c:pt idx="796">
                  <c:v>41246</c:v>
                </c:pt>
                <c:pt idx="797">
                  <c:v>41247</c:v>
                </c:pt>
                <c:pt idx="798">
                  <c:v>41248</c:v>
                </c:pt>
                <c:pt idx="799">
                  <c:v>41249</c:v>
                </c:pt>
                <c:pt idx="800">
                  <c:v>41250</c:v>
                </c:pt>
                <c:pt idx="801">
                  <c:v>41253</c:v>
                </c:pt>
                <c:pt idx="802">
                  <c:v>41254</c:v>
                </c:pt>
                <c:pt idx="803">
                  <c:v>41255</c:v>
                </c:pt>
                <c:pt idx="804">
                  <c:v>41256</c:v>
                </c:pt>
                <c:pt idx="805">
                  <c:v>41257</c:v>
                </c:pt>
                <c:pt idx="806">
                  <c:v>41260</c:v>
                </c:pt>
                <c:pt idx="807">
                  <c:v>41261</c:v>
                </c:pt>
                <c:pt idx="808">
                  <c:v>41262</c:v>
                </c:pt>
                <c:pt idx="809">
                  <c:v>41263</c:v>
                </c:pt>
                <c:pt idx="810">
                  <c:v>41264</c:v>
                </c:pt>
                <c:pt idx="811">
                  <c:v>41267</c:v>
                </c:pt>
                <c:pt idx="812">
                  <c:v>41270</c:v>
                </c:pt>
                <c:pt idx="813">
                  <c:v>41271</c:v>
                </c:pt>
                <c:pt idx="814">
                  <c:v>41274</c:v>
                </c:pt>
                <c:pt idx="815">
                  <c:v>41276</c:v>
                </c:pt>
                <c:pt idx="816">
                  <c:v>41277</c:v>
                </c:pt>
                <c:pt idx="817">
                  <c:v>41278</c:v>
                </c:pt>
                <c:pt idx="818">
                  <c:v>41281</c:v>
                </c:pt>
                <c:pt idx="819">
                  <c:v>41282</c:v>
                </c:pt>
                <c:pt idx="820">
                  <c:v>41283</c:v>
                </c:pt>
                <c:pt idx="821">
                  <c:v>41284</c:v>
                </c:pt>
                <c:pt idx="822">
                  <c:v>41285</c:v>
                </c:pt>
                <c:pt idx="823">
                  <c:v>41288</c:v>
                </c:pt>
                <c:pt idx="824">
                  <c:v>41289</c:v>
                </c:pt>
                <c:pt idx="825">
                  <c:v>41290</c:v>
                </c:pt>
                <c:pt idx="826">
                  <c:v>41291</c:v>
                </c:pt>
                <c:pt idx="827">
                  <c:v>41292</c:v>
                </c:pt>
                <c:pt idx="828">
                  <c:v>41295</c:v>
                </c:pt>
                <c:pt idx="829">
                  <c:v>41296</c:v>
                </c:pt>
                <c:pt idx="830">
                  <c:v>41297</c:v>
                </c:pt>
                <c:pt idx="831">
                  <c:v>41298</c:v>
                </c:pt>
                <c:pt idx="832">
                  <c:v>41299</c:v>
                </c:pt>
                <c:pt idx="833">
                  <c:v>41302</c:v>
                </c:pt>
                <c:pt idx="834">
                  <c:v>41303</c:v>
                </c:pt>
                <c:pt idx="835">
                  <c:v>41304</c:v>
                </c:pt>
                <c:pt idx="836">
                  <c:v>41305</c:v>
                </c:pt>
                <c:pt idx="837">
                  <c:v>41306</c:v>
                </c:pt>
                <c:pt idx="838">
                  <c:v>41309</c:v>
                </c:pt>
                <c:pt idx="839">
                  <c:v>41310</c:v>
                </c:pt>
                <c:pt idx="840">
                  <c:v>41311</c:v>
                </c:pt>
                <c:pt idx="841">
                  <c:v>41312</c:v>
                </c:pt>
                <c:pt idx="842">
                  <c:v>41313</c:v>
                </c:pt>
                <c:pt idx="843">
                  <c:v>41316</c:v>
                </c:pt>
                <c:pt idx="844">
                  <c:v>41317</c:v>
                </c:pt>
                <c:pt idx="845">
                  <c:v>41318</c:v>
                </c:pt>
                <c:pt idx="846">
                  <c:v>41319</c:v>
                </c:pt>
                <c:pt idx="847">
                  <c:v>41320</c:v>
                </c:pt>
                <c:pt idx="848">
                  <c:v>41323</c:v>
                </c:pt>
                <c:pt idx="849">
                  <c:v>41324</c:v>
                </c:pt>
                <c:pt idx="850">
                  <c:v>41325</c:v>
                </c:pt>
                <c:pt idx="851">
                  <c:v>41326</c:v>
                </c:pt>
                <c:pt idx="852">
                  <c:v>41327</c:v>
                </c:pt>
                <c:pt idx="853">
                  <c:v>41330</c:v>
                </c:pt>
                <c:pt idx="854">
                  <c:v>41331</c:v>
                </c:pt>
                <c:pt idx="855">
                  <c:v>41332</c:v>
                </c:pt>
                <c:pt idx="856">
                  <c:v>41333</c:v>
                </c:pt>
                <c:pt idx="857">
                  <c:v>41334</c:v>
                </c:pt>
                <c:pt idx="858">
                  <c:v>41337</c:v>
                </c:pt>
                <c:pt idx="859">
                  <c:v>41338</c:v>
                </c:pt>
                <c:pt idx="860">
                  <c:v>41339</c:v>
                </c:pt>
                <c:pt idx="861">
                  <c:v>41340</c:v>
                </c:pt>
                <c:pt idx="862">
                  <c:v>41341</c:v>
                </c:pt>
                <c:pt idx="863">
                  <c:v>41344</c:v>
                </c:pt>
                <c:pt idx="864">
                  <c:v>41345</c:v>
                </c:pt>
                <c:pt idx="865">
                  <c:v>41346</c:v>
                </c:pt>
                <c:pt idx="866">
                  <c:v>41347</c:v>
                </c:pt>
                <c:pt idx="867">
                  <c:v>41348</c:v>
                </c:pt>
                <c:pt idx="868">
                  <c:v>41351</c:v>
                </c:pt>
                <c:pt idx="869">
                  <c:v>41352</c:v>
                </c:pt>
                <c:pt idx="870">
                  <c:v>41353</c:v>
                </c:pt>
                <c:pt idx="871">
                  <c:v>41354</c:v>
                </c:pt>
                <c:pt idx="872">
                  <c:v>41355</c:v>
                </c:pt>
                <c:pt idx="873">
                  <c:v>41358</c:v>
                </c:pt>
                <c:pt idx="874">
                  <c:v>41359</c:v>
                </c:pt>
                <c:pt idx="875">
                  <c:v>41360</c:v>
                </c:pt>
                <c:pt idx="876">
                  <c:v>41361</c:v>
                </c:pt>
                <c:pt idx="877">
                  <c:v>41366</c:v>
                </c:pt>
                <c:pt idx="878">
                  <c:v>41367</c:v>
                </c:pt>
                <c:pt idx="879">
                  <c:v>41368</c:v>
                </c:pt>
                <c:pt idx="880">
                  <c:v>41369</c:v>
                </c:pt>
                <c:pt idx="881">
                  <c:v>41372</c:v>
                </c:pt>
                <c:pt idx="882">
                  <c:v>41373</c:v>
                </c:pt>
                <c:pt idx="883">
                  <c:v>41374</c:v>
                </c:pt>
                <c:pt idx="884">
                  <c:v>41375</c:v>
                </c:pt>
                <c:pt idx="885">
                  <c:v>41376</c:v>
                </c:pt>
                <c:pt idx="886">
                  <c:v>41379</c:v>
                </c:pt>
                <c:pt idx="887">
                  <c:v>41380</c:v>
                </c:pt>
                <c:pt idx="888">
                  <c:v>41381</c:v>
                </c:pt>
                <c:pt idx="889">
                  <c:v>41382</c:v>
                </c:pt>
                <c:pt idx="890">
                  <c:v>41383</c:v>
                </c:pt>
                <c:pt idx="891">
                  <c:v>41386</c:v>
                </c:pt>
                <c:pt idx="892">
                  <c:v>41387</c:v>
                </c:pt>
                <c:pt idx="893">
                  <c:v>41388</c:v>
                </c:pt>
                <c:pt idx="894">
                  <c:v>41389</c:v>
                </c:pt>
                <c:pt idx="895">
                  <c:v>41390</c:v>
                </c:pt>
                <c:pt idx="896">
                  <c:v>41393</c:v>
                </c:pt>
                <c:pt idx="897">
                  <c:v>41394</c:v>
                </c:pt>
                <c:pt idx="898">
                  <c:v>41395</c:v>
                </c:pt>
                <c:pt idx="899">
                  <c:v>41396</c:v>
                </c:pt>
                <c:pt idx="900">
                  <c:v>41397</c:v>
                </c:pt>
                <c:pt idx="901">
                  <c:v>41400</c:v>
                </c:pt>
                <c:pt idx="902">
                  <c:v>41401</c:v>
                </c:pt>
                <c:pt idx="903">
                  <c:v>41402</c:v>
                </c:pt>
                <c:pt idx="904">
                  <c:v>41403</c:v>
                </c:pt>
                <c:pt idx="905">
                  <c:v>41404</c:v>
                </c:pt>
                <c:pt idx="906">
                  <c:v>41407</c:v>
                </c:pt>
                <c:pt idx="907">
                  <c:v>41408</c:v>
                </c:pt>
                <c:pt idx="908">
                  <c:v>41409</c:v>
                </c:pt>
                <c:pt idx="909">
                  <c:v>41410</c:v>
                </c:pt>
                <c:pt idx="910">
                  <c:v>41411</c:v>
                </c:pt>
                <c:pt idx="911">
                  <c:v>41414</c:v>
                </c:pt>
                <c:pt idx="912">
                  <c:v>41415</c:v>
                </c:pt>
                <c:pt idx="913">
                  <c:v>41416</c:v>
                </c:pt>
                <c:pt idx="914">
                  <c:v>41417</c:v>
                </c:pt>
                <c:pt idx="915">
                  <c:v>41418</c:v>
                </c:pt>
                <c:pt idx="916">
                  <c:v>41421</c:v>
                </c:pt>
                <c:pt idx="917">
                  <c:v>41422</c:v>
                </c:pt>
                <c:pt idx="918">
                  <c:v>41423</c:v>
                </c:pt>
                <c:pt idx="919">
                  <c:v>41424</c:v>
                </c:pt>
                <c:pt idx="920">
                  <c:v>41425</c:v>
                </c:pt>
                <c:pt idx="921">
                  <c:v>41428</c:v>
                </c:pt>
                <c:pt idx="922">
                  <c:v>41429</c:v>
                </c:pt>
                <c:pt idx="923">
                  <c:v>41430</c:v>
                </c:pt>
                <c:pt idx="924">
                  <c:v>41431</c:v>
                </c:pt>
                <c:pt idx="925">
                  <c:v>41432</c:v>
                </c:pt>
                <c:pt idx="926">
                  <c:v>41435</c:v>
                </c:pt>
                <c:pt idx="927">
                  <c:v>41436</c:v>
                </c:pt>
                <c:pt idx="928">
                  <c:v>41437</c:v>
                </c:pt>
                <c:pt idx="929">
                  <c:v>41438</c:v>
                </c:pt>
                <c:pt idx="930">
                  <c:v>41439</c:v>
                </c:pt>
                <c:pt idx="931">
                  <c:v>41442</c:v>
                </c:pt>
                <c:pt idx="932">
                  <c:v>41443</c:v>
                </c:pt>
                <c:pt idx="933">
                  <c:v>41444</c:v>
                </c:pt>
                <c:pt idx="934">
                  <c:v>41445</c:v>
                </c:pt>
                <c:pt idx="935">
                  <c:v>41446</c:v>
                </c:pt>
                <c:pt idx="936">
                  <c:v>41449</c:v>
                </c:pt>
                <c:pt idx="937">
                  <c:v>41450</c:v>
                </c:pt>
                <c:pt idx="938">
                  <c:v>41451</c:v>
                </c:pt>
                <c:pt idx="939">
                  <c:v>41452</c:v>
                </c:pt>
                <c:pt idx="940">
                  <c:v>41453</c:v>
                </c:pt>
                <c:pt idx="941">
                  <c:v>41456</c:v>
                </c:pt>
                <c:pt idx="942">
                  <c:v>41457</c:v>
                </c:pt>
                <c:pt idx="943">
                  <c:v>41458</c:v>
                </c:pt>
                <c:pt idx="944">
                  <c:v>41459</c:v>
                </c:pt>
                <c:pt idx="945">
                  <c:v>41460</c:v>
                </c:pt>
                <c:pt idx="946">
                  <c:v>41463</c:v>
                </c:pt>
                <c:pt idx="947">
                  <c:v>41464</c:v>
                </c:pt>
                <c:pt idx="948">
                  <c:v>41465</c:v>
                </c:pt>
                <c:pt idx="949">
                  <c:v>41466</c:v>
                </c:pt>
                <c:pt idx="950">
                  <c:v>41467</c:v>
                </c:pt>
                <c:pt idx="951">
                  <c:v>41470</c:v>
                </c:pt>
                <c:pt idx="952">
                  <c:v>41471</c:v>
                </c:pt>
                <c:pt idx="953">
                  <c:v>41472</c:v>
                </c:pt>
                <c:pt idx="954">
                  <c:v>41473</c:v>
                </c:pt>
                <c:pt idx="955">
                  <c:v>41474</c:v>
                </c:pt>
                <c:pt idx="956">
                  <c:v>41477</c:v>
                </c:pt>
                <c:pt idx="957">
                  <c:v>41478</c:v>
                </c:pt>
                <c:pt idx="958">
                  <c:v>41479</c:v>
                </c:pt>
                <c:pt idx="959">
                  <c:v>41480</c:v>
                </c:pt>
                <c:pt idx="960">
                  <c:v>41481</c:v>
                </c:pt>
                <c:pt idx="961">
                  <c:v>41484</c:v>
                </c:pt>
                <c:pt idx="962">
                  <c:v>41485</c:v>
                </c:pt>
                <c:pt idx="963">
                  <c:v>41486</c:v>
                </c:pt>
                <c:pt idx="964">
                  <c:v>41487</c:v>
                </c:pt>
                <c:pt idx="965">
                  <c:v>41488</c:v>
                </c:pt>
                <c:pt idx="966">
                  <c:v>41491</c:v>
                </c:pt>
                <c:pt idx="967">
                  <c:v>41492</c:v>
                </c:pt>
                <c:pt idx="968">
                  <c:v>41493</c:v>
                </c:pt>
                <c:pt idx="969">
                  <c:v>41494</c:v>
                </c:pt>
                <c:pt idx="970">
                  <c:v>41495</c:v>
                </c:pt>
                <c:pt idx="971">
                  <c:v>41498</c:v>
                </c:pt>
                <c:pt idx="972">
                  <c:v>41499</c:v>
                </c:pt>
                <c:pt idx="973">
                  <c:v>41500</c:v>
                </c:pt>
                <c:pt idx="974">
                  <c:v>41501</c:v>
                </c:pt>
                <c:pt idx="975">
                  <c:v>41502</c:v>
                </c:pt>
                <c:pt idx="976">
                  <c:v>41505</c:v>
                </c:pt>
                <c:pt idx="977">
                  <c:v>41506</c:v>
                </c:pt>
                <c:pt idx="978">
                  <c:v>41507</c:v>
                </c:pt>
                <c:pt idx="979">
                  <c:v>41508</c:v>
                </c:pt>
                <c:pt idx="980">
                  <c:v>41509</c:v>
                </c:pt>
                <c:pt idx="981">
                  <c:v>41512</c:v>
                </c:pt>
                <c:pt idx="982">
                  <c:v>41513</c:v>
                </c:pt>
                <c:pt idx="983">
                  <c:v>41514</c:v>
                </c:pt>
                <c:pt idx="984">
                  <c:v>41515</c:v>
                </c:pt>
                <c:pt idx="985">
                  <c:v>41516</c:v>
                </c:pt>
                <c:pt idx="986">
                  <c:v>41519</c:v>
                </c:pt>
                <c:pt idx="987">
                  <c:v>41520</c:v>
                </c:pt>
                <c:pt idx="988">
                  <c:v>41521</c:v>
                </c:pt>
                <c:pt idx="989">
                  <c:v>41522</c:v>
                </c:pt>
                <c:pt idx="990">
                  <c:v>41523</c:v>
                </c:pt>
                <c:pt idx="991">
                  <c:v>41526</c:v>
                </c:pt>
                <c:pt idx="992">
                  <c:v>41527</c:v>
                </c:pt>
                <c:pt idx="993">
                  <c:v>41528</c:v>
                </c:pt>
                <c:pt idx="994">
                  <c:v>41529</c:v>
                </c:pt>
                <c:pt idx="995">
                  <c:v>41530</c:v>
                </c:pt>
                <c:pt idx="996">
                  <c:v>41533</c:v>
                </c:pt>
                <c:pt idx="997">
                  <c:v>41534</c:v>
                </c:pt>
                <c:pt idx="998">
                  <c:v>41535</c:v>
                </c:pt>
                <c:pt idx="999">
                  <c:v>41536</c:v>
                </c:pt>
                <c:pt idx="1000">
                  <c:v>41537</c:v>
                </c:pt>
                <c:pt idx="1001">
                  <c:v>41540</c:v>
                </c:pt>
                <c:pt idx="1002">
                  <c:v>41541</c:v>
                </c:pt>
                <c:pt idx="1003">
                  <c:v>41542</c:v>
                </c:pt>
                <c:pt idx="1004">
                  <c:v>41543</c:v>
                </c:pt>
                <c:pt idx="1005">
                  <c:v>41544</c:v>
                </c:pt>
                <c:pt idx="1006">
                  <c:v>41547</c:v>
                </c:pt>
                <c:pt idx="1007">
                  <c:v>41548</c:v>
                </c:pt>
                <c:pt idx="1008">
                  <c:v>41549</c:v>
                </c:pt>
                <c:pt idx="1009">
                  <c:v>41550</c:v>
                </c:pt>
                <c:pt idx="1010">
                  <c:v>41551</c:v>
                </c:pt>
                <c:pt idx="1011">
                  <c:v>41554</c:v>
                </c:pt>
                <c:pt idx="1012">
                  <c:v>41555</c:v>
                </c:pt>
                <c:pt idx="1013">
                  <c:v>41556</c:v>
                </c:pt>
                <c:pt idx="1014">
                  <c:v>41557</c:v>
                </c:pt>
                <c:pt idx="1015">
                  <c:v>41558</c:v>
                </c:pt>
                <c:pt idx="1016">
                  <c:v>41561</c:v>
                </c:pt>
                <c:pt idx="1017">
                  <c:v>41562</c:v>
                </c:pt>
                <c:pt idx="1018">
                  <c:v>41563</c:v>
                </c:pt>
                <c:pt idx="1019">
                  <c:v>41564</c:v>
                </c:pt>
                <c:pt idx="1020">
                  <c:v>41565</c:v>
                </c:pt>
                <c:pt idx="1021">
                  <c:v>41568</c:v>
                </c:pt>
                <c:pt idx="1022">
                  <c:v>41569</c:v>
                </c:pt>
                <c:pt idx="1023">
                  <c:v>41570</c:v>
                </c:pt>
                <c:pt idx="1024">
                  <c:v>41571</c:v>
                </c:pt>
                <c:pt idx="1025">
                  <c:v>41572</c:v>
                </c:pt>
                <c:pt idx="1026">
                  <c:v>41575</c:v>
                </c:pt>
                <c:pt idx="1027">
                  <c:v>41576</c:v>
                </c:pt>
                <c:pt idx="1028">
                  <c:v>41577</c:v>
                </c:pt>
                <c:pt idx="1029">
                  <c:v>41578</c:v>
                </c:pt>
                <c:pt idx="1030">
                  <c:v>41579</c:v>
                </c:pt>
                <c:pt idx="1031">
                  <c:v>41582</c:v>
                </c:pt>
                <c:pt idx="1032">
                  <c:v>41583</c:v>
                </c:pt>
                <c:pt idx="1033">
                  <c:v>41584</c:v>
                </c:pt>
                <c:pt idx="1034">
                  <c:v>41585</c:v>
                </c:pt>
                <c:pt idx="1035">
                  <c:v>41586</c:v>
                </c:pt>
                <c:pt idx="1036">
                  <c:v>41589</c:v>
                </c:pt>
                <c:pt idx="1037">
                  <c:v>41590</c:v>
                </c:pt>
                <c:pt idx="1038">
                  <c:v>41591</c:v>
                </c:pt>
                <c:pt idx="1039">
                  <c:v>41592</c:v>
                </c:pt>
                <c:pt idx="1040">
                  <c:v>41593</c:v>
                </c:pt>
                <c:pt idx="1041">
                  <c:v>41596</c:v>
                </c:pt>
                <c:pt idx="1042">
                  <c:v>41597</c:v>
                </c:pt>
                <c:pt idx="1043">
                  <c:v>41598</c:v>
                </c:pt>
                <c:pt idx="1044">
                  <c:v>41599</c:v>
                </c:pt>
                <c:pt idx="1045">
                  <c:v>41600</c:v>
                </c:pt>
                <c:pt idx="1046">
                  <c:v>41603</c:v>
                </c:pt>
                <c:pt idx="1047">
                  <c:v>41604</c:v>
                </c:pt>
                <c:pt idx="1048">
                  <c:v>41605</c:v>
                </c:pt>
                <c:pt idx="1049">
                  <c:v>41606</c:v>
                </c:pt>
                <c:pt idx="1050">
                  <c:v>41607</c:v>
                </c:pt>
                <c:pt idx="1051">
                  <c:v>41610</c:v>
                </c:pt>
                <c:pt idx="1052">
                  <c:v>41611</c:v>
                </c:pt>
                <c:pt idx="1053">
                  <c:v>41612</c:v>
                </c:pt>
                <c:pt idx="1054">
                  <c:v>41613</c:v>
                </c:pt>
                <c:pt idx="1055">
                  <c:v>41614</c:v>
                </c:pt>
                <c:pt idx="1056">
                  <c:v>41617</c:v>
                </c:pt>
                <c:pt idx="1057">
                  <c:v>41618</c:v>
                </c:pt>
                <c:pt idx="1058">
                  <c:v>41619</c:v>
                </c:pt>
                <c:pt idx="1059">
                  <c:v>41620</c:v>
                </c:pt>
                <c:pt idx="1060">
                  <c:v>41621</c:v>
                </c:pt>
                <c:pt idx="1061">
                  <c:v>41624</c:v>
                </c:pt>
                <c:pt idx="1062">
                  <c:v>41625</c:v>
                </c:pt>
                <c:pt idx="1063">
                  <c:v>41626</c:v>
                </c:pt>
                <c:pt idx="1064">
                  <c:v>41627</c:v>
                </c:pt>
                <c:pt idx="1065">
                  <c:v>41628</c:v>
                </c:pt>
                <c:pt idx="1066">
                  <c:v>41631</c:v>
                </c:pt>
                <c:pt idx="1067">
                  <c:v>41632</c:v>
                </c:pt>
                <c:pt idx="1068">
                  <c:v>41635</c:v>
                </c:pt>
                <c:pt idx="1069">
                  <c:v>41638</c:v>
                </c:pt>
                <c:pt idx="1070">
                  <c:v>41639</c:v>
                </c:pt>
                <c:pt idx="1071">
                  <c:v>41641</c:v>
                </c:pt>
                <c:pt idx="1072">
                  <c:v>41642</c:v>
                </c:pt>
                <c:pt idx="1073">
                  <c:v>41645</c:v>
                </c:pt>
                <c:pt idx="1074">
                  <c:v>41646</c:v>
                </c:pt>
                <c:pt idx="1075">
                  <c:v>41647</c:v>
                </c:pt>
                <c:pt idx="1076">
                  <c:v>41648</c:v>
                </c:pt>
                <c:pt idx="1077">
                  <c:v>41649</c:v>
                </c:pt>
                <c:pt idx="1078">
                  <c:v>41652</c:v>
                </c:pt>
                <c:pt idx="1079">
                  <c:v>41653</c:v>
                </c:pt>
                <c:pt idx="1080">
                  <c:v>41654</c:v>
                </c:pt>
                <c:pt idx="1081">
                  <c:v>41655</c:v>
                </c:pt>
                <c:pt idx="1082">
                  <c:v>41656</c:v>
                </c:pt>
                <c:pt idx="1083">
                  <c:v>41659</c:v>
                </c:pt>
                <c:pt idx="1084">
                  <c:v>41660</c:v>
                </c:pt>
                <c:pt idx="1085">
                  <c:v>41661</c:v>
                </c:pt>
                <c:pt idx="1086">
                  <c:v>41662</c:v>
                </c:pt>
                <c:pt idx="1087">
                  <c:v>41663</c:v>
                </c:pt>
                <c:pt idx="1088">
                  <c:v>41666</c:v>
                </c:pt>
                <c:pt idx="1089">
                  <c:v>41667</c:v>
                </c:pt>
                <c:pt idx="1090">
                  <c:v>41668</c:v>
                </c:pt>
                <c:pt idx="1091">
                  <c:v>41669</c:v>
                </c:pt>
                <c:pt idx="1092">
                  <c:v>41670</c:v>
                </c:pt>
                <c:pt idx="1093">
                  <c:v>41673</c:v>
                </c:pt>
                <c:pt idx="1094">
                  <c:v>41674</c:v>
                </c:pt>
                <c:pt idx="1095">
                  <c:v>41675</c:v>
                </c:pt>
                <c:pt idx="1096">
                  <c:v>41676</c:v>
                </c:pt>
                <c:pt idx="1097">
                  <c:v>41677</c:v>
                </c:pt>
                <c:pt idx="1098">
                  <c:v>41680</c:v>
                </c:pt>
                <c:pt idx="1099">
                  <c:v>41681</c:v>
                </c:pt>
                <c:pt idx="1100">
                  <c:v>41682</c:v>
                </c:pt>
                <c:pt idx="1101">
                  <c:v>41683</c:v>
                </c:pt>
                <c:pt idx="1102">
                  <c:v>41684</c:v>
                </c:pt>
                <c:pt idx="1103">
                  <c:v>41687</c:v>
                </c:pt>
                <c:pt idx="1104">
                  <c:v>41688</c:v>
                </c:pt>
                <c:pt idx="1105">
                  <c:v>41689</c:v>
                </c:pt>
                <c:pt idx="1106">
                  <c:v>41690</c:v>
                </c:pt>
                <c:pt idx="1107">
                  <c:v>41691</c:v>
                </c:pt>
                <c:pt idx="1108">
                  <c:v>41694</c:v>
                </c:pt>
                <c:pt idx="1109">
                  <c:v>41695</c:v>
                </c:pt>
                <c:pt idx="1110">
                  <c:v>41696</c:v>
                </c:pt>
                <c:pt idx="1111">
                  <c:v>41697</c:v>
                </c:pt>
                <c:pt idx="1112">
                  <c:v>41698</c:v>
                </c:pt>
                <c:pt idx="1113">
                  <c:v>41701</c:v>
                </c:pt>
                <c:pt idx="1114">
                  <c:v>41702</c:v>
                </c:pt>
                <c:pt idx="1115">
                  <c:v>41703</c:v>
                </c:pt>
                <c:pt idx="1116">
                  <c:v>41704</c:v>
                </c:pt>
                <c:pt idx="1117">
                  <c:v>41705</c:v>
                </c:pt>
                <c:pt idx="1118">
                  <c:v>41708</c:v>
                </c:pt>
                <c:pt idx="1119">
                  <c:v>41709</c:v>
                </c:pt>
                <c:pt idx="1120">
                  <c:v>41710</c:v>
                </c:pt>
                <c:pt idx="1121">
                  <c:v>41711</c:v>
                </c:pt>
                <c:pt idx="1122">
                  <c:v>41712</c:v>
                </c:pt>
                <c:pt idx="1123">
                  <c:v>41715</c:v>
                </c:pt>
                <c:pt idx="1124">
                  <c:v>41716</c:v>
                </c:pt>
                <c:pt idx="1125">
                  <c:v>41717</c:v>
                </c:pt>
                <c:pt idx="1126">
                  <c:v>41718</c:v>
                </c:pt>
                <c:pt idx="1127">
                  <c:v>41719</c:v>
                </c:pt>
                <c:pt idx="1128">
                  <c:v>41722</c:v>
                </c:pt>
                <c:pt idx="1129">
                  <c:v>41723</c:v>
                </c:pt>
                <c:pt idx="1130">
                  <c:v>41724</c:v>
                </c:pt>
                <c:pt idx="1131">
                  <c:v>41725</c:v>
                </c:pt>
                <c:pt idx="1132">
                  <c:v>41726</c:v>
                </c:pt>
                <c:pt idx="1133">
                  <c:v>41729</c:v>
                </c:pt>
                <c:pt idx="1134">
                  <c:v>41730</c:v>
                </c:pt>
                <c:pt idx="1135">
                  <c:v>41731</c:v>
                </c:pt>
                <c:pt idx="1136">
                  <c:v>41732</c:v>
                </c:pt>
                <c:pt idx="1137">
                  <c:v>41733</c:v>
                </c:pt>
                <c:pt idx="1138">
                  <c:v>41736</c:v>
                </c:pt>
                <c:pt idx="1139">
                  <c:v>41737</c:v>
                </c:pt>
                <c:pt idx="1140">
                  <c:v>41738</c:v>
                </c:pt>
                <c:pt idx="1141">
                  <c:v>41739</c:v>
                </c:pt>
                <c:pt idx="1142">
                  <c:v>41740</c:v>
                </c:pt>
                <c:pt idx="1143">
                  <c:v>41743</c:v>
                </c:pt>
                <c:pt idx="1144">
                  <c:v>41744</c:v>
                </c:pt>
                <c:pt idx="1145">
                  <c:v>41745</c:v>
                </c:pt>
                <c:pt idx="1146">
                  <c:v>41746</c:v>
                </c:pt>
                <c:pt idx="1147">
                  <c:v>41751</c:v>
                </c:pt>
                <c:pt idx="1148">
                  <c:v>41752</c:v>
                </c:pt>
                <c:pt idx="1149">
                  <c:v>41753</c:v>
                </c:pt>
                <c:pt idx="1150">
                  <c:v>41754</c:v>
                </c:pt>
                <c:pt idx="1151">
                  <c:v>41757</c:v>
                </c:pt>
                <c:pt idx="1152">
                  <c:v>41758</c:v>
                </c:pt>
                <c:pt idx="1153">
                  <c:v>41759</c:v>
                </c:pt>
                <c:pt idx="1154">
                  <c:v>41760</c:v>
                </c:pt>
                <c:pt idx="1155">
                  <c:v>41761</c:v>
                </c:pt>
                <c:pt idx="1156">
                  <c:v>41764</c:v>
                </c:pt>
                <c:pt idx="1157">
                  <c:v>41765</c:v>
                </c:pt>
                <c:pt idx="1158">
                  <c:v>41766</c:v>
                </c:pt>
                <c:pt idx="1159">
                  <c:v>41767</c:v>
                </c:pt>
                <c:pt idx="1160">
                  <c:v>41768</c:v>
                </c:pt>
                <c:pt idx="1161">
                  <c:v>41771</c:v>
                </c:pt>
                <c:pt idx="1162">
                  <c:v>41772</c:v>
                </c:pt>
                <c:pt idx="1163">
                  <c:v>41773</c:v>
                </c:pt>
                <c:pt idx="1164">
                  <c:v>41774</c:v>
                </c:pt>
                <c:pt idx="1165">
                  <c:v>41775</c:v>
                </c:pt>
                <c:pt idx="1166">
                  <c:v>41778</c:v>
                </c:pt>
                <c:pt idx="1167">
                  <c:v>41779</c:v>
                </c:pt>
                <c:pt idx="1168">
                  <c:v>41780</c:v>
                </c:pt>
                <c:pt idx="1169">
                  <c:v>41781</c:v>
                </c:pt>
                <c:pt idx="1170">
                  <c:v>41782</c:v>
                </c:pt>
                <c:pt idx="1171">
                  <c:v>41785</c:v>
                </c:pt>
                <c:pt idx="1172">
                  <c:v>41786</c:v>
                </c:pt>
                <c:pt idx="1173">
                  <c:v>41787</c:v>
                </c:pt>
                <c:pt idx="1174">
                  <c:v>41788</c:v>
                </c:pt>
                <c:pt idx="1175">
                  <c:v>41789</c:v>
                </c:pt>
                <c:pt idx="1176">
                  <c:v>41792</c:v>
                </c:pt>
                <c:pt idx="1177">
                  <c:v>41793</c:v>
                </c:pt>
                <c:pt idx="1178">
                  <c:v>41794</c:v>
                </c:pt>
                <c:pt idx="1179">
                  <c:v>41795</c:v>
                </c:pt>
                <c:pt idx="1180">
                  <c:v>41796</c:v>
                </c:pt>
                <c:pt idx="1181">
                  <c:v>41799</c:v>
                </c:pt>
                <c:pt idx="1182">
                  <c:v>41800</c:v>
                </c:pt>
                <c:pt idx="1183">
                  <c:v>41801</c:v>
                </c:pt>
                <c:pt idx="1184">
                  <c:v>41802</c:v>
                </c:pt>
                <c:pt idx="1185">
                  <c:v>41803</c:v>
                </c:pt>
                <c:pt idx="1186">
                  <c:v>41806</c:v>
                </c:pt>
                <c:pt idx="1187">
                  <c:v>41807</c:v>
                </c:pt>
                <c:pt idx="1188">
                  <c:v>41808</c:v>
                </c:pt>
                <c:pt idx="1189">
                  <c:v>41809</c:v>
                </c:pt>
                <c:pt idx="1190">
                  <c:v>41810</c:v>
                </c:pt>
                <c:pt idx="1191">
                  <c:v>41813</c:v>
                </c:pt>
                <c:pt idx="1192">
                  <c:v>41814</c:v>
                </c:pt>
                <c:pt idx="1193">
                  <c:v>41815</c:v>
                </c:pt>
                <c:pt idx="1194">
                  <c:v>41816</c:v>
                </c:pt>
                <c:pt idx="1195">
                  <c:v>41817</c:v>
                </c:pt>
                <c:pt idx="1196">
                  <c:v>41820</c:v>
                </c:pt>
                <c:pt idx="1197">
                  <c:v>41821</c:v>
                </c:pt>
                <c:pt idx="1198">
                  <c:v>41822</c:v>
                </c:pt>
                <c:pt idx="1199">
                  <c:v>41823</c:v>
                </c:pt>
                <c:pt idx="1200">
                  <c:v>41824</c:v>
                </c:pt>
                <c:pt idx="1201">
                  <c:v>41827</c:v>
                </c:pt>
                <c:pt idx="1202">
                  <c:v>41828</c:v>
                </c:pt>
                <c:pt idx="1203">
                  <c:v>41829</c:v>
                </c:pt>
                <c:pt idx="1204">
                  <c:v>41830</c:v>
                </c:pt>
                <c:pt idx="1205">
                  <c:v>41831</c:v>
                </c:pt>
                <c:pt idx="1206">
                  <c:v>41834</c:v>
                </c:pt>
                <c:pt idx="1207">
                  <c:v>41835</c:v>
                </c:pt>
                <c:pt idx="1208">
                  <c:v>41836</c:v>
                </c:pt>
                <c:pt idx="1209">
                  <c:v>41837</c:v>
                </c:pt>
                <c:pt idx="1210">
                  <c:v>41838</c:v>
                </c:pt>
                <c:pt idx="1211">
                  <c:v>41841</c:v>
                </c:pt>
                <c:pt idx="1212">
                  <c:v>41842</c:v>
                </c:pt>
                <c:pt idx="1213">
                  <c:v>41843</c:v>
                </c:pt>
                <c:pt idx="1214">
                  <c:v>41844</c:v>
                </c:pt>
                <c:pt idx="1215">
                  <c:v>41845</c:v>
                </c:pt>
                <c:pt idx="1216">
                  <c:v>41848</c:v>
                </c:pt>
                <c:pt idx="1217">
                  <c:v>41849</c:v>
                </c:pt>
                <c:pt idx="1218">
                  <c:v>41850</c:v>
                </c:pt>
                <c:pt idx="1219">
                  <c:v>41851</c:v>
                </c:pt>
                <c:pt idx="1220">
                  <c:v>41852</c:v>
                </c:pt>
                <c:pt idx="1221">
                  <c:v>41855</c:v>
                </c:pt>
                <c:pt idx="1222">
                  <c:v>41856</c:v>
                </c:pt>
                <c:pt idx="1223">
                  <c:v>41857</c:v>
                </c:pt>
                <c:pt idx="1224">
                  <c:v>41858</c:v>
                </c:pt>
                <c:pt idx="1225">
                  <c:v>41859</c:v>
                </c:pt>
                <c:pt idx="1226">
                  <c:v>41862</c:v>
                </c:pt>
                <c:pt idx="1227">
                  <c:v>41863</c:v>
                </c:pt>
                <c:pt idx="1228">
                  <c:v>41864</c:v>
                </c:pt>
                <c:pt idx="1229">
                  <c:v>41865</c:v>
                </c:pt>
                <c:pt idx="1230">
                  <c:v>41866</c:v>
                </c:pt>
                <c:pt idx="1231">
                  <c:v>41869</c:v>
                </c:pt>
                <c:pt idx="1232">
                  <c:v>41870</c:v>
                </c:pt>
                <c:pt idx="1233">
                  <c:v>41871</c:v>
                </c:pt>
                <c:pt idx="1234">
                  <c:v>41872</c:v>
                </c:pt>
                <c:pt idx="1235">
                  <c:v>41873</c:v>
                </c:pt>
                <c:pt idx="1236">
                  <c:v>41876</c:v>
                </c:pt>
                <c:pt idx="1237">
                  <c:v>41877</c:v>
                </c:pt>
                <c:pt idx="1238">
                  <c:v>41878</c:v>
                </c:pt>
                <c:pt idx="1239">
                  <c:v>41879</c:v>
                </c:pt>
                <c:pt idx="1240">
                  <c:v>41880</c:v>
                </c:pt>
                <c:pt idx="1241">
                  <c:v>41883</c:v>
                </c:pt>
                <c:pt idx="1242">
                  <c:v>41884</c:v>
                </c:pt>
                <c:pt idx="1243">
                  <c:v>41885</c:v>
                </c:pt>
                <c:pt idx="1244">
                  <c:v>41886</c:v>
                </c:pt>
                <c:pt idx="1245">
                  <c:v>41887</c:v>
                </c:pt>
              </c:numCache>
            </c:numRef>
          </c:cat>
          <c:val>
            <c:numRef>
              <c:f>Sheet1!$B$2:$B$1247</c:f>
              <c:numCache>
                <c:formatCode>General</c:formatCode>
                <c:ptCount val="1246"/>
                <c:pt idx="0">
                  <c:v>100</c:v>
                </c:pt>
                <c:pt idx="1">
                  <c:v>98.752384777588119</c:v>
                </c:pt>
                <c:pt idx="2">
                  <c:v>101.03424038558089</c:v>
                </c:pt>
                <c:pt idx="3">
                  <c:v>102.05007196170968</c:v>
                </c:pt>
                <c:pt idx="4">
                  <c:v>102.03919402885164</c:v>
                </c:pt>
                <c:pt idx="5">
                  <c:v>104.14742109314858</c:v>
                </c:pt>
                <c:pt idx="6">
                  <c:v>103.93739331258158</c:v>
                </c:pt>
                <c:pt idx="7">
                  <c:v>105.11430197141615</c:v>
                </c:pt>
                <c:pt idx="8">
                  <c:v>106.22845332530042</c:v>
                </c:pt>
                <c:pt idx="9">
                  <c:v>106.44433845432944</c:v>
                </c:pt>
                <c:pt idx="10">
                  <c:v>108.27057602838306</c:v>
                </c:pt>
                <c:pt idx="11">
                  <c:v>107.31499146500654</c:v>
                </c:pt>
                <c:pt idx="12">
                  <c:v>107.60534859590992</c:v>
                </c:pt>
                <c:pt idx="13">
                  <c:v>104.50513773136527</c:v>
                </c:pt>
                <c:pt idx="14">
                  <c:v>103.68803762091241</c:v>
                </c:pt>
                <c:pt idx="15">
                  <c:v>105.64230009706463</c:v>
                </c:pt>
                <c:pt idx="16">
                  <c:v>104.91724403387221</c:v>
                </c:pt>
                <c:pt idx="17">
                  <c:v>105.00886969909966</c:v>
                </c:pt>
                <c:pt idx="18">
                  <c:v>101.45555109281388</c:v>
                </c:pt>
                <c:pt idx="19">
                  <c:v>102.77596478896811</c:v>
                </c:pt>
                <c:pt idx="20">
                  <c:v>100.98905512601668</c:v>
                </c:pt>
                <c:pt idx="21">
                  <c:v>103.99345650500386</c:v>
                </c:pt>
                <c:pt idx="22">
                  <c:v>104.57960973323961</c:v>
                </c:pt>
                <c:pt idx="23">
                  <c:v>104.46162599993308</c:v>
                </c:pt>
                <c:pt idx="24">
                  <c:v>105.67618904173779</c:v>
                </c:pt>
                <c:pt idx="25">
                  <c:v>105.45779362051077</c:v>
                </c:pt>
                <c:pt idx="26">
                  <c:v>103.75288683602773</c:v>
                </c:pt>
                <c:pt idx="27">
                  <c:v>102.01450948890451</c:v>
                </c:pt>
                <c:pt idx="28">
                  <c:v>102.8366301837534</c:v>
                </c:pt>
                <c:pt idx="29">
                  <c:v>103.09184322388461</c:v>
                </c:pt>
                <c:pt idx="30">
                  <c:v>104.14323727281855</c:v>
                </c:pt>
                <c:pt idx="31">
                  <c:v>104.16499313853467</c:v>
                </c:pt>
                <c:pt idx="32">
                  <c:v>105.4879171268869</c:v>
                </c:pt>
                <c:pt idx="33">
                  <c:v>104.52312815878435</c:v>
                </c:pt>
                <c:pt idx="34">
                  <c:v>103.83279780433111</c:v>
                </c:pt>
                <c:pt idx="35">
                  <c:v>105.25445995247181</c:v>
                </c:pt>
                <c:pt idx="36">
                  <c:v>106.43513404960336</c:v>
                </c:pt>
                <c:pt idx="37">
                  <c:v>106.63261036918033</c:v>
                </c:pt>
                <c:pt idx="38">
                  <c:v>106.42300097064631</c:v>
                </c:pt>
                <c:pt idx="39">
                  <c:v>106.75268601265189</c:v>
                </c:pt>
                <c:pt idx="40">
                  <c:v>107.72918967767848</c:v>
                </c:pt>
                <c:pt idx="41">
                  <c:v>107.36979951132979</c:v>
                </c:pt>
                <c:pt idx="42">
                  <c:v>107.38276935435285</c:v>
                </c:pt>
                <c:pt idx="43">
                  <c:v>109.79474177460924</c:v>
                </c:pt>
                <c:pt idx="44">
                  <c:v>110.73693811292968</c:v>
                </c:pt>
                <c:pt idx="45">
                  <c:v>110.54113532148477</c:v>
                </c:pt>
                <c:pt idx="46">
                  <c:v>110.64112862737223</c:v>
                </c:pt>
                <c:pt idx="47">
                  <c:v>111.68708370987717</c:v>
                </c:pt>
                <c:pt idx="48">
                  <c:v>111.1013488636744</c:v>
                </c:pt>
                <c:pt idx="49">
                  <c:v>109.37468621347526</c:v>
                </c:pt>
                <c:pt idx="50">
                  <c:v>109.59768383706529</c:v>
                </c:pt>
                <c:pt idx="51">
                  <c:v>110.80973658667203</c:v>
                </c:pt>
                <c:pt idx="52">
                  <c:v>109.52572212738897</c:v>
                </c:pt>
                <c:pt idx="53">
                  <c:v>109.73282123372495</c:v>
                </c:pt>
                <c:pt idx="54">
                  <c:v>110.11062020952573</c:v>
                </c:pt>
                <c:pt idx="55">
                  <c:v>108.60946547511465</c:v>
                </c:pt>
                <c:pt idx="56">
                  <c:v>107.33842085885463</c:v>
                </c:pt>
                <c:pt idx="57">
                  <c:v>106.29706797871272</c:v>
                </c:pt>
                <c:pt idx="58">
                  <c:v>105.72974194196205</c:v>
                </c:pt>
                <c:pt idx="59">
                  <c:v>105.82638819158552</c:v>
                </c:pt>
                <c:pt idx="60">
                  <c:v>104.51266860795931</c:v>
                </c:pt>
                <c:pt idx="61">
                  <c:v>103.51106202095256</c:v>
                </c:pt>
                <c:pt idx="62">
                  <c:v>104.59299795829568</c:v>
                </c:pt>
                <c:pt idx="63">
                  <c:v>105.32265622385113</c:v>
                </c:pt>
                <c:pt idx="64">
                  <c:v>106.34811058673897</c:v>
                </c:pt>
                <c:pt idx="65">
                  <c:v>105.68539344646386</c:v>
                </c:pt>
                <c:pt idx="66">
                  <c:v>102.61279579609734</c:v>
                </c:pt>
                <c:pt idx="67">
                  <c:v>100.72296415302742</c:v>
                </c:pt>
                <c:pt idx="68">
                  <c:v>100.52255915921948</c:v>
                </c:pt>
                <c:pt idx="69">
                  <c:v>101.20033805268267</c:v>
                </c:pt>
                <c:pt idx="70">
                  <c:v>101.92497573384209</c:v>
                </c:pt>
                <c:pt idx="71">
                  <c:v>102.00530508417849</c:v>
                </c:pt>
                <c:pt idx="72">
                  <c:v>101.35764969709142</c:v>
                </c:pt>
                <c:pt idx="73">
                  <c:v>101.42124376610772</c:v>
                </c:pt>
                <c:pt idx="74">
                  <c:v>102.20863875221741</c:v>
                </c:pt>
                <c:pt idx="75">
                  <c:v>103.94325066104362</c:v>
                </c:pt>
                <c:pt idx="76">
                  <c:v>104.4896575961442</c:v>
                </c:pt>
                <c:pt idx="77">
                  <c:v>104.88502861733107</c:v>
                </c:pt>
                <c:pt idx="78">
                  <c:v>104.82394484051278</c:v>
                </c:pt>
                <c:pt idx="79">
                  <c:v>103.37885329852396</c:v>
                </c:pt>
                <c:pt idx="80">
                  <c:v>103.1997857883991</c:v>
                </c:pt>
                <c:pt idx="81">
                  <c:v>101.56893262375742</c:v>
                </c:pt>
                <c:pt idx="82">
                  <c:v>102.70023764099474</c:v>
                </c:pt>
                <c:pt idx="83">
                  <c:v>103.599759011949</c:v>
                </c:pt>
                <c:pt idx="84">
                  <c:v>104.07336747330721</c:v>
                </c:pt>
                <c:pt idx="85">
                  <c:v>104.67709274692906</c:v>
                </c:pt>
                <c:pt idx="86">
                  <c:v>104.4884024500452</c:v>
                </c:pt>
                <c:pt idx="87">
                  <c:v>105.69417946915689</c:v>
                </c:pt>
                <c:pt idx="88">
                  <c:v>106.00043511731431</c:v>
                </c:pt>
                <c:pt idx="89">
                  <c:v>106.07658064732068</c:v>
                </c:pt>
                <c:pt idx="90">
                  <c:v>107.10789235867055</c:v>
                </c:pt>
                <c:pt idx="91">
                  <c:v>106.93802925327174</c:v>
                </c:pt>
                <c:pt idx="92">
                  <c:v>107.65848311410116</c:v>
                </c:pt>
                <c:pt idx="93">
                  <c:v>106.64390668407138</c:v>
                </c:pt>
                <c:pt idx="94">
                  <c:v>107.28863339692739</c:v>
                </c:pt>
                <c:pt idx="95">
                  <c:v>108.09401881045622</c:v>
                </c:pt>
                <c:pt idx="96">
                  <c:v>107.83462194999498</c:v>
                </c:pt>
                <c:pt idx="97">
                  <c:v>107.31540984703953</c:v>
                </c:pt>
                <c:pt idx="98">
                  <c:v>107.07986076245943</c:v>
                </c:pt>
                <c:pt idx="99">
                  <c:v>107.46435385078826</c:v>
                </c:pt>
                <c:pt idx="100">
                  <c:v>107.34009438698664</c:v>
                </c:pt>
                <c:pt idx="101">
                  <c:v>108.31283261371625</c:v>
                </c:pt>
                <c:pt idx="102">
                  <c:v>107.89779763697828</c:v>
                </c:pt>
                <c:pt idx="103">
                  <c:v>108.46428690966295</c:v>
                </c:pt>
                <c:pt idx="104">
                  <c:v>108.58770960939854</c:v>
                </c:pt>
                <c:pt idx="105">
                  <c:v>108.16514375606656</c:v>
                </c:pt>
                <c:pt idx="106">
                  <c:v>109.57216253305218</c:v>
                </c:pt>
                <c:pt idx="107">
                  <c:v>110.42231482411221</c:v>
                </c:pt>
                <c:pt idx="108">
                  <c:v>111.0762459416943</c:v>
                </c:pt>
                <c:pt idx="109">
                  <c:v>110.62815878434917</c:v>
                </c:pt>
                <c:pt idx="110">
                  <c:v>111.78916892592964</c:v>
                </c:pt>
                <c:pt idx="111">
                  <c:v>111.75779027345452</c:v>
                </c:pt>
                <c:pt idx="112">
                  <c:v>111.91844897412726</c:v>
                </c:pt>
                <c:pt idx="113">
                  <c:v>112.42636476219165</c:v>
                </c:pt>
                <c:pt idx="114">
                  <c:v>112.90834086420993</c:v>
                </c:pt>
                <c:pt idx="115">
                  <c:v>111.79042407202866</c:v>
                </c:pt>
                <c:pt idx="116">
                  <c:v>111.08335843625532</c:v>
                </c:pt>
                <c:pt idx="117">
                  <c:v>111.87326371456304</c:v>
                </c:pt>
                <c:pt idx="118">
                  <c:v>111.66783813635908</c:v>
                </c:pt>
                <c:pt idx="119">
                  <c:v>110.40181410449512</c:v>
                </c:pt>
                <c:pt idx="120">
                  <c:v>110.78798072095593</c:v>
                </c:pt>
                <c:pt idx="121">
                  <c:v>111.32853030759446</c:v>
                </c:pt>
                <c:pt idx="122">
                  <c:v>107.76600729658267</c:v>
                </c:pt>
                <c:pt idx="123">
                  <c:v>106.15649161562406</c:v>
                </c:pt>
                <c:pt idx="124">
                  <c:v>107.73546540817354</c:v>
                </c:pt>
                <c:pt idx="125">
                  <c:v>107.64886032734211</c:v>
                </c:pt>
                <c:pt idx="126">
                  <c:v>107.94214613247648</c:v>
                </c:pt>
                <c:pt idx="127">
                  <c:v>105.90127857549285</c:v>
                </c:pt>
                <c:pt idx="128">
                  <c:v>104.84151688589887</c:v>
                </c:pt>
                <c:pt idx="129">
                  <c:v>103.84032868092513</c:v>
                </c:pt>
                <c:pt idx="130">
                  <c:v>100.01045955082506</c:v>
                </c:pt>
                <c:pt idx="131">
                  <c:v>105.61468688288652</c:v>
                </c:pt>
                <c:pt idx="132">
                  <c:v>105.14233356762728</c:v>
                </c:pt>
                <c:pt idx="133">
                  <c:v>106.87066974595845</c:v>
                </c:pt>
                <c:pt idx="134">
                  <c:v>107.12504602202364</c:v>
                </c:pt>
                <c:pt idx="135">
                  <c:v>103.97462931351875</c:v>
                </c:pt>
                <c:pt idx="136">
                  <c:v>102.77847508116614</c:v>
                </c:pt>
                <c:pt idx="137">
                  <c:v>104.60513103725275</c:v>
                </c:pt>
                <c:pt idx="138">
                  <c:v>102.5868561100512</c:v>
                </c:pt>
                <c:pt idx="139">
                  <c:v>101.24719684037888</c:v>
                </c:pt>
                <c:pt idx="140">
                  <c:v>100.70037152324531</c:v>
                </c:pt>
                <c:pt idx="141">
                  <c:v>101.30911738126318</c:v>
                </c:pt>
                <c:pt idx="142">
                  <c:v>99.339374769889886</c:v>
                </c:pt>
                <c:pt idx="143">
                  <c:v>100.95014559694748</c:v>
                </c:pt>
                <c:pt idx="144">
                  <c:v>103.83572647856212</c:v>
                </c:pt>
                <c:pt idx="145">
                  <c:v>103.46462161528936</c:v>
                </c:pt>
                <c:pt idx="146">
                  <c:v>103.82861398400107</c:v>
                </c:pt>
                <c:pt idx="147">
                  <c:v>104.83105733507381</c:v>
                </c:pt>
                <c:pt idx="148">
                  <c:v>105.12141446597718</c:v>
                </c:pt>
                <c:pt idx="149">
                  <c:v>106.5485155805469</c:v>
                </c:pt>
                <c:pt idx="150">
                  <c:v>105.06869832981893</c:v>
                </c:pt>
                <c:pt idx="151">
                  <c:v>104.44154366234896</c:v>
                </c:pt>
                <c:pt idx="152">
                  <c:v>103.28890116142853</c:v>
                </c:pt>
                <c:pt idx="153">
                  <c:v>105.10175051042607</c:v>
                </c:pt>
                <c:pt idx="154">
                  <c:v>106.87485356628845</c:v>
                </c:pt>
                <c:pt idx="155">
                  <c:v>108.05929310171705</c:v>
                </c:pt>
                <c:pt idx="156">
                  <c:v>108.87095424574088</c:v>
                </c:pt>
                <c:pt idx="157">
                  <c:v>109.78553736988322</c:v>
                </c:pt>
                <c:pt idx="158">
                  <c:v>110.0436790842454</c:v>
                </c:pt>
                <c:pt idx="159">
                  <c:v>109.93908357599491</c:v>
                </c:pt>
                <c:pt idx="160">
                  <c:v>110.49804197208555</c:v>
                </c:pt>
                <c:pt idx="161">
                  <c:v>111.09298122301436</c:v>
                </c:pt>
                <c:pt idx="162">
                  <c:v>111.04235699702114</c:v>
                </c:pt>
                <c:pt idx="163">
                  <c:v>110.14660106436389</c:v>
                </c:pt>
                <c:pt idx="164">
                  <c:v>108.76175653512736</c:v>
                </c:pt>
                <c:pt idx="165">
                  <c:v>108.18940991398067</c:v>
                </c:pt>
                <c:pt idx="166">
                  <c:v>109.39476855105936</c:v>
                </c:pt>
                <c:pt idx="167">
                  <c:v>107.14512835960774</c:v>
                </c:pt>
                <c:pt idx="168">
                  <c:v>107.22420256384511</c:v>
                </c:pt>
                <c:pt idx="169">
                  <c:v>105.14819091608931</c:v>
                </c:pt>
                <c:pt idx="170">
                  <c:v>105.08166817284199</c:v>
                </c:pt>
                <c:pt idx="171">
                  <c:v>104.92686682063126</c:v>
                </c:pt>
                <c:pt idx="172">
                  <c:v>106.98781671519899</c:v>
                </c:pt>
                <c:pt idx="173">
                  <c:v>108.27685175887807</c:v>
                </c:pt>
                <c:pt idx="174">
                  <c:v>108.80610503062556</c:v>
                </c:pt>
                <c:pt idx="175">
                  <c:v>109.27594805368679</c:v>
                </c:pt>
                <c:pt idx="176">
                  <c:v>109.38263547210229</c:v>
                </c:pt>
                <c:pt idx="177">
                  <c:v>111.16034073032768</c:v>
                </c:pt>
                <c:pt idx="178">
                  <c:v>111.08670549251933</c:v>
                </c:pt>
                <c:pt idx="179">
                  <c:v>110.14827459249589</c:v>
                </c:pt>
                <c:pt idx="180">
                  <c:v>108.18104227332061</c:v>
                </c:pt>
                <c:pt idx="181">
                  <c:v>107.43339358034609</c:v>
                </c:pt>
                <c:pt idx="182">
                  <c:v>107.46058841249122</c:v>
                </c:pt>
                <c:pt idx="183">
                  <c:v>108.64251765572179</c:v>
                </c:pt>
                <c:pt idx="184">
                  <c:v>110.35746560899689</c:v>
                </c:pt>
                <c:pt idx="185">
                  <c:v>111.25154801352213</c:v>
                </c:pt>
                <c:pt idx="186">
                  <c:v>111.6736954848211</c:v>
                </c:pt>
                <c:pt idx="187">
                  <c:v>111.54274190849149</c:v>
                </c:pt>
                <c:pt idx="188">
                  <c:v>111.21263848445292</c:v>
                </c:pt>
                <c:pt idx="189">
                  <c:v>111.25573183385214</c:v>
                </c:pt>
                <c:pt idx="190">
                  <c:v>111.04946949158216</c:v>
                </c:pt>
                <c:pt idx="191">
                  <c:v>113.52670950898684</c:v>
                </c:pt>
                <c:pt idx="192">
                  <c:v>113.5141580479968</c:v>
                </c:pt>
                <c:pt idx="193">
                  <c:v>113.81664825785722</c:v>
                </c:pt>
                <c:pt idx="194">
                  <c:v>113.8346386852763</c:v>
                </c:pt>
                <c:pt idx="195">
                  <c:v>112.45104930213878</c:v>
                </c:pt>
                <c:pt idx="196">
                  <c:v>113.7233490644978</c:v>
                </c:pt>
                <c:pt idx="197">
                  <c:v>112.87738059376777</c:v>
                </c:pt>
                <c:pt idx="198">
                  <c:v>110.75534692238178</c:v>
                </c:pt>
                <c:pt idx="199">
                  <c:v>110.77835793419688</c:v>
                </c:pt>
                <c:pt idx="200">
                  <c:v>110.91014827459249</c:v>
                </c:pt>
                <c:pt idx="201">
                  <c:v>110.69217123539848</c:v>
                </c:pt>
                <c:pt idx="202">
                  <c:v>111.66239916993004</c:v>
                </c:pt>
                <c:pt idx="203">
                  <c:v>111.42057435485491</c:v>
                </c:pt>
                <c:pt idx="204">
                  <c:v>109.94828798072096</c:v>
                </c:pt>
                <c:pt idx="205">
                  <c:v>109.00609164240052</c:v>
                </c:pt>
                <c:pt idx="206">
                  <c:v>109.98175854336112</c:v>
                </c:pt>
                <c:pt idx="207">
                  <c:v>108.05594604545303</c:v>
                </c:pt>
                <c:pt idx="208">
                  <c:v>108.14631656458144</c:v>
                </c:pt>
                <c:pt idx="209">
                  <c:v>108.57055594604547</c:v>
                </c:pt>
                <c:pt idx="210">
                  <c:v>109.50312949760688</c:v>
                </c:pt>
                <c:pt idx="211">
                  <c:v>109.39895237138937</c:v>
                </c:pt>
                <c:pt idx="212">
                  <c:v>109.11319744284901</c:v>
                </c:pt>
                <c:pt idx="213">
                  <c:v>111.25238477758812</c:v>
                </c:pt>
                <c:pt idx="214">
                  <c:v>111.39714496100682</c:v>
                </c:pt>
                <c:pt idx="215">
                  <c:v>112.11383338353917</c:v>
                </c:pt>
                <c:pt idx="216">
                  <c:v>112.4815911905479</c:v>
                </c:pt>
                <c:pt idx="217">
                  <c:v>111.8807945911571</c:v>
                </c:pt>
                <c:pt idx="218">
                  <c:v>113.27860896341669</c:v>
                </c:pt>
                <c:pt idx="219">
                  <c:v>113.96977608193595</c:v>
                </c:pt>
                <c:pt idx="220">
                  <c:v>114.01914516183015</c:v>
                </c:pt>
                <c:pt idx="221">
                  <c:v>114.24297954948624</c:v>
                </c:pt>
                <c:pt idx="222">
                  <c:v>114.03002309468823</c:v>
                </c:pt>
                <c:pt idx="223">
                  <c:v>113.86434380961946</c:v>
                </c:pt>
                <c:pt idx="224">
                  <c:v>112.97067978712722</c:v>
                </c:pt>
                <c:pt idx="225">
                  <c:v>111.9468989523714</c:v>
                </c:pt>
                <c:pt idx="226">
                  <c:v>112.80039829969543</c:v>
                </c:pt>
                <c:pt idx="227">
                  <c:v>112.25231783646285</c:v>
                </c:pt>
                <c:pt idx="228">
                  <c:v>110.45578538675235</c:v>
                </c:pt>
                <c:pt idx="229">
                  <c:v>110.4218964420792</c:v>
                </c:pt>
                <c:pt idx="230">
                  <c:v>110.93525119657264</c:v>
                </c:pt>
                <c:pt idx="231">
                  <c:v>110.39804866619809</c:v>
                </c:pt>
                <c:pt idx="232">
                  <c:v>109.99179971215315</c:v>
                </c:pt>
                <c:pt idx="233">
                  <c:v>109.28180540214882</c:v>
                </c:pt>
                <c:pt idx="234">
                  <c:v>109.14290256719217</c:v>
                </c:pt>
                <c:pt idx="235">
                  <c:v>108.78476754694249</c:v>
                </c:pt>
                <c:pt idx="236">
                  <c:v>108.66385513940489</c:v>
                </c:pt>
                <c:pt idx="237">
                  <c:v>109.92485858687286</c:v>
                </c:pt>
                <c:pt idx="238">
                  <c:v>110.48172507279847</c:v>
                </c:pt>
                <c:pt idx="239">
                  <c:v>110.7402851691937</c:v>
                </c:pt>
                <c:pt idx="240">
                  <c:v>110.63359775077821</c:v>
                </c:pt>
                <c:pt idx="241">
                  <c:v>111.10762459416944</c:v>
                </c:pt>
                <c:pt idx="242">
                  <c:v>110.56205442313487</c:v>
                </c:pt>
                <c:pt idx="243">
                  <c:v>111.97744084078055</c:v>
                </c:pt>
                <c:pt idx="244">
                  <c:v>111.73770793587042</c:v>
                </c:pt>
                <c:pt idx="245">
                  <c:v>111.88163135522309</c:v>
                </c:pt>
                <c:pt idx="246">
                  <c:v>112.44058975131375</c:v>
                </c:pt>
                <c:pt idx="247">
                  <c:v>111.90506074907121</c:v>
                </c:pt>
                <c:pt idx="248">
                  <c:v>111.79502627439169</c:v>
                </c:pt>
                <c:pt idx="249">
                  <c:v>112.03015697693878</c:v>
                </c:pt>
                <c:pt idx="250">
                  <c:v>111.95903203132845</c:v>
                </c:pt>
                <c:pt idx="251">
                  <c:v>111.91677544599526</c:v>
                </c:pt>
                <c:pt idx="252">
                  <c:v>112.4138133012016</c:v>
                </c:pt>
                <c:pt idx="253">
                  <c:v>111.83728285972489</c:v>
                </c:pt>
                <c:pt idx="254">
                  <c:v>112.49958161796701</c:v>
                </c:pt>
                <c:pt idx="255">
                  <c:v>112.97067978712722</c:v>
                </c:pt>
                <c:pt idx="256">
                  <c:v>113.02381430531847</c:v>
                </c:pt>
                <c:pt idx="257">
                  <c:v>113.25852662583257</c:v>
                </c:pt>
                <c:pt idx="258">
                  <c:v>112.42971181845567</c:v>
                </c:pt>
                <c:pt idx="259">
                  <c:v>114.4889881848914</c:v>
                </c:pt>
                <c:pt idx="260">
                  <c:v>114.77223282123373</c:v>
                </c:pt>
                <c:pt idx="261">
                  <c:v>114.61366603072598</c:v>
                </c:pt>
                <c:pt idx="262">
                  <c:v>115.1696957525856</c:v>
                </c:pt>
                <c:pt idx="263">
                  <c:v>114.66470863875222</c:v>
                </c:pt>
                <c:pt idx="264">
                  <c:v>114.56973591726079</c:v>
                </c:pt>
                <c:pt idx="265">
                  <c:v>114.29318539344646</c:v>
                </c:pt>
                <c:pt idx="266">
                  <c:v>115.23245305753589</c:v>
                </c:pt>
                <c:pt idx="267">
                  <c:v>112.88407470629582</c:v>
                </c:pt>
                <c:pt idx="268">
                  <c:v>113.25183251330455</c:v>
                </c:pt>
                <c:pt idx="269">
                  <c:v>114.52831609599356</c:v>
                </c:pt>
                <c:pt idx="270">
                  <c:v>114.39150517120194</c:v>
                </c:pt>
                <c:pt idx="271">
                  <c:v>113.67314322053754</c:v>
                </c:pt>
                <c:pt idx="272">
                  <c:v>112.06069886534793</c:v>
                </c:pt>
                <c:pt idx="273">
                  <c:v>113.1564414097801</c:v>
                </c:pt>
                <c:pt idx="274">
                  <c:v>113.27526190715267</c:v>
                </c:pt>
                <c:pt idx="275">
                  <c:v>112.78491816447433</c:v>
                </c:pt>
                <c:pt idx="276">
                  <c:v>110.97416072564181</c:v>
                </c:pt>
                <c:pt idx="277">
                  <c:v>110.94863942162867</c:v>
                </c:pt>
                <c:pt idx="278">
                  <c:v>113.02506945141748</c:v>
                </c:pt>
                <c:pt idx="279">
                  <c:v>114.67223951534626</c:v>
                </c:pt>
                <c:pt idx="280">
                  <c:v>113.8325467751113</c:v>
                </c:pt>
                <c:pt idx="281">
                  <c:v>113.73004317702582</c:v>
                </c:pt>
                <c:pt idx="282">
                  <c:v>114.93121799377448</c:v>
                </c:pt>
                <c:pt idx="283">
                  <c:v>115.75626736285439</c:v>
                </c:pt>
                <c:pt idx="284">
                  <c:v>116.78465039997323</c:v>
                </c:pt>
                <c:pt idx="285">
                  <c:v>116.63696154232352</c:v>
                </c:pt>
                <c:pt idx="286">
                  <c:v>116.55035646149213</c:v>
                </c:pt>
                <c:pt idx="287">
                  <c:v>116.85912240184757</c:v>
                </c:pt>
                <c:pt idx="288">
                  <c:v>116.37045218730128</c:v>
                </c:pt>
                <c:pt idx="289">
                  <c:v>116.61520567660743</c:v>
                </c:pt>
                <c:pt idx="290">
                  <c:v>115.83701509522375</c:v>
                </c:pt>
                <c:pt idx="291">
                  <c:v>116.75912909596011</c:v>
                </c:pt>
                <c:pt idx="292">
                  <c:v>117.63605783713224</c:v>
                </c:pt>
                <c:pt idx="293">
                  <c:v>118.0682464772233</c:v>
                </c:pt>
                <c:pt idx="294">
                  <c:v>118.21300666064198</c:v>
                </c:pt>
                <c:pt idx="295">
                  <c:v>117.91595541721058</c:v>
                </c:pt>
                <c:pt idx="296">
                  <c:v>117.04362887840145</c:v>
                </c:pt>
                <c:pt idx="297">
                  <c:v>117.2222780064933</c:v>
                </c:pt>
                <c:pt idx="298">
                  <c:v>118.09460454530243</c:v>
                </c:pt>
                <c:pt idx="299">
                  <c:v>116.63947183452154</c:v>
                </c:pt>
                <c:pt idx="300">
                  <c:v>116.34827793955216</c:v>
                </c:pt>
                <c:pt idx="301">
                  <c:v>116.92271647086388</c:v>
                </c:pt>
                <c:pt idx="302">
                  <c:v>118.11008468052349</c:v>
                </c:pt>
                <c:pt idx="303">
                  <c:v>118.55524316363758</c:v>
                </c:pt>
                <c:pt idx="304">
                  <c:v>119.280717608863</c:v>
                </c:pt>
                <c:pt idx="305">
                  <c:v>119.63550557284867</c:v>
                </c:pt>
                <c:pt idx="306">
                  <c:v>118.44102486862805</c:v>
                </c:pt>
                <c:pt idx="307">
                  <c:v>118.70376878535329</c:v>
                </c:pt>
                <c:pt idx="308">
                  <c:v>119.73591726076917</c:v>
                </c:pt>
                <c:pt idx="309">
                  <c:v>119.85682966830673</c:v>
                </c:pt>
                <c:pt idx="310">
                  <c:v>119.83883924088765</c:v>
                </c:pt>
                <c:pt idx="311">
                  <c:v>119.83088998226062</c:v>
                </c:pt>
                <c:pt idx="312">
                  <c:v>120.62581584496436</c:v>
                </c:pt>
                <c:pt idx="313">
                  <c:v>119.42756970244672</c:v>
                </c:pt>
                <c:pt idx="314">
                  <c:v>118.9589818254845</c:v>
                </c:pt>
                <c:pt idx="315">
                  <c:v>119.27360511430199</c:v>
                </c:pt>
                <c:pt idx="316">
                  <c:v>120.01665160491348</c:v>
                </c:pt>
                <c:pt idx="317">
                  <c:v>118.53892626435052</c:v>
                </c:pt>
                <c:pt idx="318">
                  <c:v>119.05018910867891</c:v>
                </c:pt>
                <c:pt idx="319">
                  <c:v>119.47735716437393</c:v>
                </c:pt>
                <c:pt idx="320">
                  <c:v>119.0250861866988</c:v>
                </c:pt>
                <c:pt idx="321">
                  <c:v>118.91839876828331</c:v>
                </c:pt>
                <c:pt idx="322">
                  <c:v>121.00152291060013</c:v>
                </c:pt>
                <c:pt idx="323">
                  <c:v>121.13247648692975</c:v>
                </c:pt>
                <c:pt idx="324">
                  <c:v>121.48266224855242</c:v>
                </c:pt>
                <c:pt idx="325">
                  <c:v>122.1834521538307</c:v>
                </c:pt>
                <c:pt idx="326">
                  <c:v>123.25367339424977</c:v>
                </c:pt>
                <c:pt idx="327">
                  <c:v>122.74366569602036</c:v>
                </c:pt>
                <c:pt idx="328">
                  <c:v>122.44326739632494</c:v>
                </c:pt>
                <c:pt idx="329">
                  <c:v>122.53949526391538</c:v>
                </c:pt>
                <c:pt idx="330">
                  <c:v>122.85704722696389</c:v>
                </c:pt>
                <c:pt idx="331">
                  <c:v>123.56118418850622</c:v>
                </c:pt>
                <c:pt idx="332">
                  <c:v>123.71514877665093</c:v>
                </c:pt>
                <c:pt idx="333">
                  <c:v>124.38748870368512</c:v>
                </c:pt>
                <c:pt idx="334">
                  <c:v>125.14768885764971</c:v>
                </c:pt>
                <c:pt idx="335">
                  <c:v>124.94561033570974</c:v>
                </c:pt>
                <c:pt idx="336">
                  <c:v>123.21141680891657</c:v>
                </c:pt>
                <c:pt idx="337">
                  <c:v>122.06044783612813</c:v>
                </c:pt>
                <c:pt idx="338">
                  <c:v>121.16762057770191</c:v>
                </c:pt>
                <c:pt idx="339">
                  <c:v>120.14049268668208</c:v>
                </c:pt>
                <c:pt idx="340">
                  <c:v>121.38601599892895</c:v>
                </c:pt>
                <c:pt idx="341">
                  <c:v>122.19474846872178</c:v>
                </c:pt>
                <c:pt idx="342">
                  <c:v>121.05591257489039</c:v>
                </c:pt>
                <c:pt idx="343">
                  <c:v>120.31537637647689</c:v>
                </c:pt>
                <c:pt idx="344">
                  <c:v>119.98862000870236</c:v>
                </c:pt>
                <c:pt idx="345">
                  <c:v>119.80704220637949</c:v>
                </c:pt>
                <c:pt idx="346">
                  <c:v>119.3823844428825</c:v>
                </c:pt>
                <c:pt idx="347">
                  <c:v>120.13128828195603</c:v>
                </c:pt>
                <c:pt idx="348">
                  <c:v>120.26851758878068</c:v>
                </c:pt>
                <c:pt idx="349">
                  <c:v>118.80459885530676</c:v>
                </c:pt>
                <c:pt idx="350">
                  <c:v>116.98045319141815</c:v>
                </c:pt>
                <c:pt idx="351">
                  <c:v>115.67802992268301</c:v>
                </c:pt>
                <c:pt idx="352">
                  <c:v>113.32086554874989</c:v>
                </c:pt>
                <c:pt idx="353">
                  <c:v>112.03726947149981</c:v>
                </c:pt>
                <c:pt idx="354">
                  <c:v>113.88986511363257</c:v>
                </c:pt>
                <c:pt idx="355">
                  <c:v>113.7091240753757</c:v>
                </c:pt>
                <c:pt idx="356">
                  <c:v>116.00520467249056</c:v>
                </c:pt>
                <c:pt idx="357">
                  <c:v>116.08051343843091</c:v>
                </c:pt>
                <c:pt idx="358">
                  <c:v>116.3348897144961</c:v>
                </c:pt>
                <c:pt idx="359">
                  <c:v>116.50475281989492</c:v>
                </c:pt>
                <c:pt idx="360">
                  <c:v>116.51855942698397</c:v>
                </c:pt>
                <c:pt idx="361">
                  <c:v>116.51061016835693</c:v>
                </c:pt>
                <c:pt idx="362">
                  <c:v>116.62566522743248</c:v>
                </c:pt>
                <c:pt idx="363">
                  <c:v>117.40971315727819</c:v>
                </c:pt>
                <c:pt idx="364">
                  <c:v>116.42693376175654</c:v>
                </c:pt>
                <c:pt idx="365">
                  <c:v>118.13225892827259</c:v>
                </c:pt>
                <c:pt idx="366">
                  <c:v>118.2021287277839</c:v>
                </c:pt>
                <c:pt idx="367">
                  <c:v>118.79372092244871</c:v>
                </c:pt>
                <c:pt idx="368">
                  <c:v>118.92300097064631</c:v>
                </c:pt>
                <c:pt idx="369">
                  <c:v>118.76234226997357</c:v>
                </c:pt>
                <c:pt idx="370">
                  <c:v>119.47610201827494</c:v>
                </c:pt>
                <c:pt idx="371">
                  <c:v>119.43384543294174</c:v>
                </c:pt>
                <c:pt idx="372">
                  <c:v>117.87788265220738</c:v>
                </c:pt>
                <c:pt idx="373">
                  <c:v>118.86568263212504</c:v>
                </c:pt>
                <c:pt idx="374">
                  <c:v>118.62218428891791</c:v>
                </c:pt>
                <c:pt idx="375">
                  <c:v>119.18030592094253</c:v>
                </c:pt>
                <c:pt idx="376">
                  <c:v>117.24319710814339</c:v>
                </c:pt>
                <c:pt idx="377">
                  <c:v>117.29214780600461</c:v>
                </c:pt>
                <c:pt idx="378">
                  <c:v>118.85354955316801</c:v>
                </c:pt>
                <c:pt idx="379">
                  <c:v>118.91965391438231</c:v>
                </c:pt>
                <c:pt idx="380">
                  <c:v>119.08031261505508</c:v>
                </c:pt>
                <c:pt idx="381">
                  <c:v>119.80578706028049</c:v>
                </c:pt>
                <c:pt idx="382">
                  <c:v>120.48858653813971</c:v>
                </c:pt>
                <c:pt idx="383">
                  <c:v>120.75133045486494</c:v>
                </c:pt>
                <c:pt idx="384">
                  <c:v>120.75635103926096</c:v>
                </c:pt>
                <c:pt idx="385">
                  <c:v>120.39612410884628</c:v>
                </c:pt>
                <c:pt idx="386">
                  <c:v>119.66395555109281</c:v>
                </c:pt>
                <c:pt idx="387">
                  <c:v>119.83758409478864</c:v>
                </c:pt>
                <c:pt idx="388">
                  <c:v>120.35679619774409</c:v>
                </c:pt>
                <c:pt idx="389">
                  <c:v>120.02627439167253</c:v>
                </c:pt>
                <c:pt idx="390">
                  <c:v>120.9065501891087</c:v>
                </c:pt>
                <c:pt idx="391">
                  <c:v>121.98430230612176</c:v>
                </c:pt>
                <c:pt idx="392">
                  <c:v>121.20401981457307</c:v>
                </c:pt>
                <c:pt idx="393">
                  <c:v>120.31370284834489</c:v>
                </c:pt>
                <c:pt idx="394">
                  <c:v>120.03003982996954</c:v>
                </c:pt>
                <c:pt idx="395">
                  <c:v>119.16189711149046</c:v>
                </c:pt>
                <c:pt idx="396">
                  <c:v>119.28908524952304</c:v>
                </c:pt>
                <c:pt idx="397">
                  <c:v>120.40198145730831</c:v>
                </c:pt>
                <c:pt idx="398">
                  <c:v>120.60824379957829</c:v>
                </c:pt>
                <c:pt idx="399">
                  <c:v>118.96400240988052</c:v>
                </c:pt>
                <c:pt idx="400">
                  <c:v>118.64686882886501</c:v>
                </c:pt>
                <c:pt idx="401">
                  <c:v>119.43761087123875</c:v>
                </c:pt>
                <c:pt idx="402">
                  <c:v>119.59785118987851</c:v>
                </c:pt>
                <c:pt idx="403">
                  <c:v>120.31077417411386</c:v>
                </c:pt>
                <c:pt idx="404">
                  <c:v>120.04259129095959</c:v>
                </c:pt>
                <c:pt idx="405">
                  <c:v>120.75760618536</c:v>
                </c:pt>
                <c:pt idx="406">
                  <c:v>119.48572480503398</c:v>
                </c:pt>
                <c:pt idx="407">
                  <c:v>118.34228670883959</c:v>
                </c:pt>
                <c:pt idx="408">
                  <c:v>117.78207316664992</c:v>
                </c:pt>
                <c:pt idx="409">
                  <c:v>116.95032968504202</c:v>
                </c:pt>
                <c:pt idx="410">
                  <c:v>117.41975432607023</c:v>
                </c:pt>
                <c:pt idx="411">
                  <c:v>116.45371021186865</c:v>
                </c:pt>
                <c:pt idx="412">
                  <c:v>117.50803293503364</c:v>
                </c:pt>
                <c:pt idx="413">
                  <c:v>116.00771496468856</c:v>
                </c:pt>
                <c:pt idx="414">
                  <c:v>116.72314824112193</c:v>
                </c:pt>
                <c:pt idx="415">
                  <c:v>117.47163369816249</c:v>
                </c:pt>
                <c:pt idx="416">
                  <c:v>116.07089065167186</c:v>
                </c:pt>
                <c:pt idx="417">
                  <c:v>115.47009405228104</c:v>
                </c:pt>
                <c:pt idx="418">
                  <c:v>115.83157612879474</c:v>
                </c:pt>
                <c:pt idx="419">
                  <c:v>115.2102788097868</c:v>
                </c:pt>
                <c:pt idx="420">
                  <c:v>116.3537169059812</c:v>
                </c:pt>
                <c:pt idx="421">
                  <c:v>116.00687820062257</c:v>
                </c:pt>
                <c:pt idx="422">
                  <c:v>114.81950999096296</c:v>
                </c:pt>
                <c:pt idx="423">
                  <c:v>114.29987950597449</c:v>
                </c:pt>
                <c:pt idx="424">
                  <c:v>113.9605716772099</c:v>
                </c:pt>
                <c:pt idx="425">
                  <c:v>114.06935100579041</c:v>
                </c:pt>
                <c:pt idx="426">
                  <c:v>115.73660340730328</c:v>
                </c:pt>
                <c:pt idx="427">
                  <c:v>116.83025404157044</c:v>
                </c:pt>
                <c:pt idx="428">
                  <c:v>117.63898651136327</c:v>
                </c:pt>
                <c:pt idx="429">
                  <c:v>117.72810188439269</c:v>
                </c:pt>
                <c:pt idx="430">
                  <c:v>117.99502962144794</c:v>
                </c:pt>
                <c:pt idx="431">
                  <c:v>117.34319041403087</c:v>
                </c:pt>
                <c:pt idx="432">
                  <c:v>117.97327375573184</c:v>
                </c:pt>
                <c:pt idx="433">
                  <c:v>117.6908658834555</c:v>
                </c:pt>
                <c:pt idx="434">
                  <c:v>116.03239950463569</c:v>
                </c:pt>
                <c:pt idx="435">
                  <c:v>114.9960672088898</c:v>
                </c:pt>
                <c:pt idx="436">
                  <c:v>115.52699400876931</c:v>
                </c:pt>
                <c:pt idx="437">
                  <c:v>114.67349466144528</c:v>
                </c:pt>
                <c:pt idx="438">
                  <c:v>114.66889245908224</c:v>
                </c:pt>
                <c:pt idx="439">
                  <c:v>112.80500050205843</c:v>
                </c:pt>
                <c:pt idx="440">
                  <c:v>113.84426147203534</c:v>
                </c:pt>
                <c:pt idx="441">
                  <c:v>115.64665127020785</c:v>
                </c:pt>
                <c:pt idx="442">
                  <c:v>117.24487063627539</c:v>
                </c:pt>
                <c:pt idx="443">
                  <c:v>117.91344512501256</c:v>
                </c:pt>
                <c:pt idx="444">
                  <c:v>117.36703818991199</c:v>
                </c:pt>
                <c:pt idx="445">
                  <c:v>117.20637948923923</c:v>
                </c:pt>
                <c:pt idx="446">
                  <c:v>116.38425879439033</c:v>
                </c:pt>
                <c:pt idx="447">
                  <c:v>116.82607022124043</c:v>
                </c:pt>
                <c:pt idx="448">
                  <c:v>116.47379254945275</c:v>
                </c:pt>
                <c:pt idx="449">
                  <c:v>114.80068279947785</c:v>
                </c:pt>
                <c:pt idx="450">
                  <c:v>112.68576162265288</c:v>
                </c:pt>
                <c:pt idx="451">
                  <c:v>111.55696689761353</c:v>
                </c:pt>
                <c:pt idx="452">
                  <c:v>108.89103658332498</c:v>
                </c:pt>
                <c:pt idx="453">
                  <c:v>107.37314656759381</c:v>
                </c:pt>
                <c:pt idx="454">
                  <c:v>103.73782508283963</c:v>
                </c:pt>
                <c:pt idx="455">
                  <c:v>103.26254309334939</c:v>
                </c:pt>
                <c:pt idx="456">
                  <c:v>100.37236000937175</c:v>
                </c:pt>
                <c:pt idx="457">
                  <c:v>102.58769287411722</c:v>
                </c:pt>
                <c:pt idx="458">
                  <c:v>106.45605315125346</c:v>
                </c:pt>
                <c:pt idx="459">
                  <c:v>106.70457207885664</c:v>
                </c:pt>
                <c:pt idx="460">
                  <c:v>105.98160792582925</c:v>
                </c:pt>
                <c:pt idx="461">
                  <c:v>106.47153328647457</c:v>
                </c:pt>
                <c:pt idx="462">
                  <c:v>102.45799444388659</c:v>
                </c:pt>
                <c:pt idx="463">
                  <c:v>101.31246443752721</c:v>
                </c:pt>
                <c:pt idx="464">
                  <c:v>102.21282257254747</c:v>
                </c:pt>
                <c:pt idx="465">
                  <c:v>103.35835257890685</c:v>
                </c:pt>
                <c:pt idx="466">
                  <c:v>104.95238812464439</c:v>
                </c:pt>
                <c:pt idx="467">
                  <c:v>103.26505338554742</c:v>
                </c:pt>
                <c:pt idx="468">
                  <c:v>102.0735013555578</c:v>
                </c:pt>
                <c:pt idx="469">
                  <c:v>103.23283796900627</c:v>
                </c:pt>
                <c:pt idx="470">
                  <c:v>104.23277102788097</c:v>
                </c:pt>
                <c:pt idx="471">
                  <c:v>106.52132074840179</c:v>
                </c:pt>
                <c:pt idx="472">
                  <c:v>107.22294741774611</c:v>
                </c:pt>
                <c:pt idx="473">
                  <c:v>105.08836228537004</c:v>
                </c:pt>
                <c:pt idx="474">
                  <c:v>101.66599725541387</c:v>
                </c:pt>
                <c:pt idx="475">
                  <c:v>101.00453526123776</c:v>
                </c:pt>
                <c:pt idx="476">
                  <c:v>103.24204237373232</c:v>
                </c:pt>
                <c:pt idx="477">
                  <c:v>104.36874518860661</c:v>
                </c:pt>
                <c:pt idx="478">
                  <c:v>101.98229407236337</c:v>
                </c:pt>
                <c:pt idx="479">
                  <c:v>99.762777387287883</c:v>
                </c:pt>
                <c:pt idx="480">
                  <c:v>100.43177025805805</c:v>
                </c:pt>
                <c:pt idx="481">
                  <c:v>101.41120259731566</c:v>
                </c:pt>
                <c:pt idx="482">
                  <c:v>103.43700840111123</c:v>
                </c:pt>
                <c:pt idx="483">
                  <c:v>104.31059008601935</c:v>
                </c:pt>
                <c:pt idx="484">
                  <c:v>102.58936640224923</c:v>
                </c:pt>
                <c:pt idx="485">
                  <c:v>104.33569300799948</c:v>
                </c:pt>
                <c:pt idx="486">
                  <c:v>103.13284466311879</c:v>
                </c:pt>
                <c:pt idx="487">
                  <c:v>99.673662014258468</c:v>
                </c:pt>
                <c:pt idx="488">
                  <c:v>100.1259329919336</c:v>
                </c:pt>
                <c:pt idx="489">
                  <c:v>102.49564882685678</c:v>
                </c:pt>
                <c:pt idx="490">
                  <c:v>106.17113498677912</c:v>
                </c:pt>
                <c:pt idx="491">
                  <c:v>104.25787394986111</c:v>
                </c:pt>
                <c:pt idx="492">
                  <c:v>104.86578304381298</c:v>
                </c:pt>
                <c:pt idx="493">
                  <c:v>104.47919804531914</c:v>
                </c:pt>
                <c:pt idx="494">
                  <c:v>103.52403186397564</c:v>
                </c:pt>
                <c:pt idx="495">
                  <c:v>101.50031797034509</c:v>
                </c:pt>
                <c:pt idx="496">
                  <c:v>104.0633263045152</c:v>
                </c:pt>
                <c:pt idx="497">
                  <c:v>106.23138199953142</c:v>
                </c:pt>
                <c:pt idx="498">
                  <c:v>107.18236436054491</c:v>
                </c:pt>
                <c:pt idx="499">
                  <c:v>108.22288047662082</c:v>
                </c:pt>
                <c:pt idx="500">
                  <c:v>107.24846872175921</c:v>
                </c:pt>
                <c:pt idx="501">
                  <c:v>108.4065501891087</c:v>
                </c:pt>
                <c:pt idx="502">
                  <c:v>107.62584931552699</c:v>
                </c:pt>
                <c:pt idx="503">
                  <c:v>108.28856645580214</c:v>
                </c:pt>
                <c:pt idx="504">
                  <c:v>107.6040934498109</c:v>
                </c:pt>
                <c:pt idx="505">
                  <c:v>106.78741172139104</c:v>
                </c:pt>
                <c:pt idx="506">
                  <c:v>107.84842855708405</c:v>
                </c:pt>
                <c:pt idx="507">
                  <c:v>106.02093583693144</c:v>
                </c:pt>
                <c:pt idx="508">
                  <c:v>107.91913512066138</c:v>
                </c:pt>
                <c:pt idx="509">
                  <c:v>108.56679050774845</c:v>
                </c:pt>
                <c:pt idx="510">
                  <c:v>107.4513840077652</c:v>
                </c:pt>
                <c:pt idx="511">
                  <c:v>107.81035579208087</c:v>
                </c:pt>
                <c:pt idx="512">
                  <c:v>110.26500317970347</c:v>
                </c:pt>
                <c:pt idx="513">
                  <c:v>109.00818355256551</c:v>
                </c:pt>
                <c:pt idx="514">
                  <c:v>107.80031462328883</c:v>
                </c:pt>
                <c:pt idx="515">
                  <c:v>104.00977340429094</c:v>
                </c:pt>
                <c:pt idx="516">
                  <c:v>104.73315593935135</c:v>
                </c:pt>
                <c:pt idx="517">
                  <c:v>107.2430297553302</c:v>
                </c:pt>
                <c:pt idx="518">
                  <c:v>106.01717039863441</c:v>
                </c:pt>
                <c:pt idx="519">
                  <c:v>105.6778625698698</c:v>
                </c:pt>
                <c:pt idx="520">
                  <c:v>106.28870033805269</c:v>
                </c:pt>
                <c:pt idx="521">
                  <c:v>104.85992569535094</c:v>
                </c:pt>
                <c:pt idx="522">
                  <c:v>105.19421293971951</c:v>
                </c:pt>
                <c:pt idx="523">
                  <c:v>107.73588379020651</c:v>
                </c:pt>
                <c:pt idx="524">
                  <c:v>106.48952371389365</c:v>
                </c:pt>
                <c:pt idx="525">
                  <c:v>106.01089466813937</c:v>
                </c:pt>
                <c:pt idx="526">
                  <c:v>105.88161461994177</c:v>
                </c:pt>
                <c:pt idx="527">
                  <c:v>104.868711718044</c:v>
                </c:pt>
                <c:pt idx="528">
                  <c:v>104.44949292097603</c:v>
                </c:pt>
                <c:pt idx="529">
                  <c:v>101.42710111456974</c:v>
                </c:pt>
                <c:pt idx="530">
                  <c:v>101.09281387020117</c:v>
                </c:pt>
                <c:pt idx="531">
                  <c:v>99.598771630351123</c:v>
                </c:pt>
                <c:pt idx="532">
                  <c:v>99.109683033771816</c:v>
                </c:pt>
                <c:pt idx="533">
                  <c:v>99.899169930046526</c:v>
                </c:pt>
                <c:pt idx="534">
                  <c:v>103.3294842186297</c:v>
                </c:pt>
                <c:pt idx="535">
                  <c:v>104.66412290390601</c:v>
                </c:pt>
                <c:pt idx="536">
                  <c:v>107.67521839542124</c:v>
                </c:pt>
                <c:pt idx="537">
                  <c:v>106.85644475683638</c:v>
                </c:pt>
                <c:pt idx="538">
                  <c:v>107.15767982059778</c:v>
                </c:pt>
                <c:pt idx="539">
                  <c:v>107.84549988285303</c:v>
                </c:pt>
                <c:pt idx="540">
                  <c:v>106.95350938849285</c:v>
                </c:pt>
                <c:pt idx="541">
                  <c:v>106.65980520132545</c:v>
                </c:pt>
                <c:pt idx="542">
                  <c:v>105.50967299260302</c:v>
                </c:pt>
                <c:pt idx="543">
                  <c:v>106.60206848077117</c:v>
                </c:pt>
                <c:pt idx="544">
                  <c:v>104.90427419084915</c:v>
                </c:pt>
                <c:pt idx="545">
                  <c:v>105.22893864845868</c:v>
                </c:pt>
                <c:pt idx="546">
                  <c:v>103.71774274525556</c:v>
                </c:pt>
                <c:pt idx="547">
                  <c:v>104.79256618803763</c:v>
                </c:pt>
                <c:pt idx="548">
                  <c:v>104.03278441610604</c:v>
                </c:pt>
                <c:pt idx="549">
                  <c:v>104.14030859858754</c:v>
                </c:pt>
                <c:pt idx="550">
                  <c:v>105.53184724035212</c:v>
                </c:pt>
                <c:pt idx="551">
                  <c:v>105.15153797235332</c:v>
                </c:pt>
                <c:pt idx="552">
                  <c:v>105.78957057268133</c:v>
                </c:pt>
                <c:pt idx="553">
                  <c:v>106.72298088830874</c:v>
                </c:pt>
                <c:pt idx="554">
                  <c:v>106.74808381028885</c:v>
                </c:pt>
                <c:pt idx="555">
                  <c:v>106.21339157211234</c:v>
                </c:pt>
                <c:pt idx="556">
                  <c:v>107.00371523245306</c:v>
                </c:pt>
                <c:pt idx="557">
                  <c:v>108.0287512133079</c:v>
                </c:pt>
                <c:pt idx="558">
                  <c:v>108.88225056063192</c:v>
                </c:pt>
                <c:pt idx="559">
                  <c:v>110.17463266057503</c:v>
                </c:pt>
                <c:pt idx="560">
                  <c:v>109.61943970278141</c:v>
                </c:pt>
                <c:pt idx="561">
                  <c:v>107.75178230746059</c:v>
                </c:pt>
                <c:pt idx="562">
                  <c:v>107.70868895806139</c:v>
                </c:pt>
                <c:pt idx="563">
                  <c:v>106.79870803628208</c:v>
                </c:pt>
                <c:pt idx="564">
                  <c:v>108.4312347290558</c:v>
                </c:pt>
                <c:pt idx="565">
                  <c:v>108.24505472436992</c:v>
                </c:pt>
                <c:pt idx="566">
                  <c:v>108.32287378250828</c:v>
                </c:pt>
                <c:pt idx="567">
                  <c:v>108.06180339391504</c:v>
                </c:pt>
                <c:pt idx="568">
                  <c:v>108.80192121029555</c:v>
                </c:pt>
                <c:pt idx="569">
                  <c:v>109.30941861632695</c:v>
                </c:pt>
                <c:pt idx="570">
                  <c:v>109.04918499179972</c:v>
                </c:pt>
                <c:pt idx="571">
                  <c:v>109.955400475282</c:v>
                </c:pt>
                <c:pt idx="572">
                  <c:v>109.79892559493925</c:v>
                </c:pt>
                <c:pt idx="573">
                  <c:v>109.4914148006828</c:v>
                </c:pt>
                <c:pt idx="574">
                  <c:v>108.92241523580013</c:v>
                </c:pt>
                <c:pt idx="575">
                  <c:v>108.91070053887606</c:v>
                </c:pt>
                <c:pt idx="576">
                  <c:v>109.73449476185695</c:v>
                </c:pt>
                <c:pt idx="577">
                  <c:v>109.04123573317268</c:v>
                </c:pt>
                <c:pt idx="578">
                  <c:v>108.23710546574287</c:v>
                </c:pt>
                <c:pt idx="579">
                  <c:v>108.79104327743751</c:v>
                </c:pt>
                <c:pt idx="580">
                  <c:v>110.3599759011949</c:v>
                </c:pt>
                <c:pt idx="581">
                  <c:v>110.13990695183587</c:v>
                </c:pt>
                <c:pt idx="582">
                  <c:v>111.70591090136226</c:v>
                </c:pt>
                <c:pt idx="583">
                  <c:v>111.94020483984337</c:v>
                </c:pt>
                <c:pt idx="584">
                  <c:v>111.5017404692573</c:v>
                </c:pt>
                <c:pt idx="585">
                  <c:v>110.86119757673127</c:v>
                </c:pt>
                <c:pt idx="586">
                  <c:v>111.16034073032768</c:v>
                </c:pt>
                <c:pt idx="587">
                  <c:v>109.99682029654917</c:v>
                </c:pt>
                <c:pt idx="588">
                  <c:v>110.86245272283028</c:v>
                </c:pt>
                <c:pt idx="589">
                  <c:v>111.06829668306726</c:v>
                </c:pt>
                <c:pt idx="590">
                  <c:v>111.65737858553402</c:v>
                </c:pt>
                <c:pt idx="591">
                  <c:v>111.61888743849784</c:v>
                </c:pt>
                <c:pt idx="592">
                  <c:v>112.70082337584095</c:v>
                </c:pt>
                <c:pt idx="593">
                  <c:v>113.16648257857216</c:v>
                </c:pt>
                <c:pt idx="594">
                  <c:v>112.4728051678549</c:v>
                </c:pt>
                <c:pt idx="595">
                  <c:v>111.49923017705929</c:v>
                </c:pt>
                <c:pt idx="596">
                  <c:v>111.01976436723903</c:v>
                </c:pt>
                <c:pt idx="597">
                  <c:v>111.55361984134953</c:v>
                </c:pt>
                <c:pt idx="598">
                  <c:v>111.76155571175153</c:v>
                </c:pt>
                <c:pt idx="599">
                  <c:v>111.6929410583392</c:v>
                </c:pt>
                <c:pt idx="600">
                  <c:v>111.80172038691971</c:v>
                </c:pt>
                <c:pt idx="601">
                  <c:v>113.25057736720554</c:v>
                </c:pt>
                <c:pt idx="602">
                  <c:v>113.18823844428827</c:v>
                </c:pt>
                <c:pt idx="603">
                  <c:v>112.39373096361751</c:v>
                </c:pt>
                <c:pt idx="604">
                  <c:v>110.34951635036987</c:v>
                </c:pt>
                <c:pt idx="605">
                  <c:v>110.82689025002512</c:v>
                </c:pt>
                <c:pt idx="606">
                  <c:v>111.71009472169229</c:v>
                </c:pt>
                <c:pt idx="607">
                  <c:v>112.07827091073401</c:v>
                </c:pt>
                <c:pt idx="608">
                  <c:v>111.79209760016067</c:v>
                </c:pt>
                <c:pt idx="609">
                  <c:v>113.73255346922382</c:v>
                </c:pt>
                <c:pt idx="610">
                  <c:v>114.66136158248821</c:v>
                </c:pt>
                <c:pt idx="611">
                  <c:v>114.64462630116815</c:v>
                </c:pt>
                <c:pt idx="612">
                  <c:v>115.11237741406433</c:v>
                </c:pt>
                <c:pt idx="613">
                  <c:v>115.31696622820232</c:v>
                </c:pt>
                <c:pt idx="614">
                  <c:v>115.16132811192557</c:v>
                </c:pt>
                <c:pt idx="615">
                  <c:v>114.9149010944874</c:v>
                </c:pt>
                <c:pt idx="616">
                  <c:v>113.75681962713793</c:v>
                </c:pt>
                <c:pt idx="617">
                  <c:v>113.8777320346755</c:v>
                </c:pt>
                <c:pt idx="618">
                  <c:v>114.57935870401982</c:v>
                </c:pt>
                <c:pt idx="619">
                  <c:v>114.43459852060114</c:v>
                </c:pt>
                <c:pt idx="620">
                  <c:v>113.1932590286843</c:v>
                </c:pt>
                <c:pt idx="621">
                  <c:v>111.80506744318373</c:v>
                </c:pt>
                <c:pt idx="622">
                  <c:v>112.59539110352446</c:v>
                </c:pt>
                <c:pt idx="623">
                  <c:v>113.78694313351407</c:v>
                </c:pt>
                <c:pt idx="624">
                  <c:v>112.61923887940557</c:v>
                </c:pt>
                <c:pt idx="625">
                  <c:v>110.28341198915554</c:v>
                </c:pt>
                <c:pt idx="626">
                  <c:v>110.0424239381464</c:v>
                </c:pt>
                <c:pt idx="627">
                  <c:v>108.02373062891189</c:v>
                </c:pt>
                <c:pt idx="628">
                  <c:v>109.01989824948959</c:v>
                </c:pt>
                <c:pt idx="629">
                  <c:v>109.34288917896711</c:v>
                </c:pt>
                <c:pt idx="630">
                  <c:v>107.65346252970514</c:v>
                </c:pt>
                <c:pt idx="631">
                  <c:v>107.57062288717074</c:v>
                </c:pt>
                <c:pt idx="632">
                  <c:v>109.48723098035278</c:v>
                </c:pt>
                <c:pt idx="633">
                  <c:v>108.23626870167689</c:v>
                </c:pt>
                <c:pt idx="634">
                  <c:v>107.34762526358071</c:v>
                </c:pt>
                <c:pt idx="635">
                  <c:v>108.34588479432338</c:v>
                </c:pt>
                <c:pt idx="636">
                  <c:v>106.53136191719383</c:v>
                </c:pt>
                <c:pt idx="637">
                  <c:v>108.2166047461258</c:v>
                </c:pt>
                <c:pt idx="638">
                  <c:v>108.9822438665194</c:v>
                </c:pt>
                <c:pt idx="639">
                  <c:v>108.40069284064664</c:v>
                </c:pt>
                <c:pt idx="640">
                  <c:v>109.71106536800886</c:v>
                </c:pt>
                <c:pt idx="641">
                  <c:v>108.96550858519932</c:v>
                </c:pt>
                <c:pt idx="642">
                  <c:v>109.18766944472338</c:v>
                </c:pt>
                <c:pt idx="643">
                  <c:v>108.85212705425577</c:v>
                </c:pt>
                <c:pt idx="644">
                  <c:v>108.73246979281723</c:v>
                </c:pt>
                <c:pt idx="645">
                  <c:v>107.98147404357867</c:v>
                </c:pt>
                <c:pt idx="646">
                  <c:v>108.97094755162836</c:v>
                </c:pt>
                <c:pt idx="647">
                  <c:v>108.79146165947049</c:v>
                </c:pt>
                <c:pt idx="648">
                  <c:v>108.41198915553771</c:v>
                </c:pt>
                <c:pt idx="649">
                  <c:v>109.55249857750108</c:v>
                </c:pt>
                <c:pt idx="650">
                  <c:v>109.60898015195635</c:v>
                </c:pt>
                <c:pt idx="651">
                  <c:v>108.06515045017906</c:v>
                </c:pt>
                <c:pt idx="652">
                  <c:v>107.08906516718545</c:v>
                </c:pt>
                <c:pt idx="653">
                  <c:v>106.38367305954412</c:v>
                </c:pt>
                <c:pt idx="654">
                  <c:v>105.59627807343442</c:v>
                </c:pt>
                <c:pt idx="655">
                  <c:v>105.15990561301336</c:v>
                </c:pt>
                <c:pt idx="656">
                  <c:v>105.16241590521138</c:v>
                </c:pt>
                <c:pt idx="657">
                  <c:v>106.81376978947017</c:v>
                </c:pt>
                <c:pt idx="658">
                  <c:v>104.76453459182649</c:v>
                </c:pt>
                <c:pt idx="659">
                  <c:v>105.9083910700539</c:v>
                </c:pt>
                <c:pt idx="660">
                  <c:v>106.20125849315527</c:v>
                </c:pt>
                <c:pt idx="661">
                  <c:v>106.00754761187537</c:v>
                </c:pt>
                <c:pt idx="662">
                  <c:v>105.75442648190916</c:v>
                </c:pt>
                <c:pt idx="663">
                  <c:v>104.5528332831275</c:v>
                </c:pt>
                <c:pt idx="664">
                  <c:v>104.58463031763563</c:v>
                </c:pt>
                <c:pt idx="665">
                  <c:v>103.45625397462932</c:v>
                </c:pt>
                <c:pt idx="666">
                  <c:v>103.20940857515815</c:v>
                </c:pt>
                <c:pt idx="667">
                  <c:v>103.15250861866988</c:v>
                </c:pt>
                <c:pt idx="668">
                  <c:v>105.39880175385747</c:v>
                </c:pt>
                <c:pt idx="669">
                  <c:v>105.7824580781203</c:v>
                </c:pt>
                <c:pt idx="670">
                  <c:v>106.30208856310874</c:v>
                </c:pt>
                <c:pt idx="671">
                  <c:v>106.01591525253539</c:v>
                </c:pt>
                <c:pt idx="672">
                  <c:v>106.53847441175488</c:v>
                </c:pt>
                <c:pt idx="673">
                  <c:v>106.20962613381531</c:v>
                </c:pt>
                <c:pt idx="674">
                  <c:v>106.77025805803797</c:v>
                </c:pt>
                <c:pt idx="675">
                  <c:v>107.61036918030594</c:v>
                </c:pt>
                <c:pt idx="676">
                  <c:v>107.62961475382401</c:v>
                </c:pt>
                <c:pt idx="677">
                  <c:v>109.15712755631424</c:v>
                </c:pt>
                <c:pt idx="678">
                  <c:v>110.31228034943268</c:v>
                </c:pt>
                <c:pt idx="679">
                  <c:v>109.79432339257625</c:v>
                </c:pt>
                <c:pt idx="680">
                  <c:v>109.46087291227367</c:v>
                </c:pt>
                <c:pt idx="681">
                  <c:v>108.10866218161128</c:v>
                </c:pt>
                <c:pt idx="682">
                  <c:v>108.46596043779498</c:v>
                </c:pt>
                <c:pt idx="683">
                  <c:v>109.71859624460288</c:v>
                </c:pt>
                <c:pt idx="684">
                  <c:v>109.72612712119691</c:v>
                </c:pt>
                <c:pt idx="685">
                  <c:v>111.69043076614118</c:v>
                </c:pt>
                <c:pt idx="686">
                  <c:v>112.94181142685009</c:v>
                </c:pt>
                <c:pt idx="687">
                  <c:v>113.20706563577335</c:v>
                </c:pt>
                <c:pt idx="688">
                  <c:v>112.74768216353716</c:v>
                </c:pt>
                <c:pt idx="689">
                  <c:v>112.23976637547277</c:v>
                </c:pt>
                <c:pt idx="690">
                  <c:v>111.46492285035312</c:v>
                </c:pt>
                <c:pt idx="691">
                  <c:v>111.49713826689427</c:v>
                </c:pt>
                <c:pt idx="692">
                  <c:v>111.96154232352646</c:v>
                </c:pt>
                <c:pt idx="693">
                  <c:v>112.65563811627675</c:v>
                </c:pt>
                <c:pt idx="694">
                  <c:v>111.56993674063659</c:v>
                </c:pt>
                <c:pt idx="695">
                  <c:v>113.71749171603575</c:v>
                </c:pt>
                <c:pt idx="696">
                  <c:v>114.33460521471368</c:v>
                </c:pt>
                <c:pt idx="697">
                  <c:v>113.85011882049739</c:v>
                </c:pt>
                <c:pt idx="698">
                  <c:v>114.86553201459317</c:v>
                </c:pt>
                <c:pt idx="699">
                  <c:v>115.86379154533589</c:v>
                </c:pt>
                <c:pt idx="700">
                  <c:v>113.76518726779798</c:v>
                </c:pt>
                <c:pt idx="701">
                  <c:v>111.24192522676309</c:v>
                </c:pt>
                <c:pt idx="702">
                  <c:v>110.67920139237542</c:v>
                </c:pt>
                <c:pt idx="703">
                  <c:v>110.32148475415873</c:v>
                </c:pt>
                <c:pt idx="704">
                  <c:v>113.26689426649264</c:v>
                </c:pt>
                <c:pt idx="705">
                  <c:v>114.31996184355859</c:v>
                </c:pt>
                <c:pt idx="706">
                  <c:v>115.39980587073669</c:v>
                </c:pt>
                <c:pt idx="707">
                  <c:v>114.15093550222579</c:v>
                </c:pt>
                <c:pt idx="708">
                  <c:v>114.59609398533992</c:v>
                </c:pt>
                <c:pt idx="709">
                  <c:v>112.90332027981391</c:v>
                </c:pt>
                <c:pt idx="710">
                  <c:v>115.22575894500787</c:v>
                </c:pt>
                <c:pt idx="711">
                  <c:v>115.8236268701677</c:v>
                </c:pt>
                <c:pt idx="712">
                  <c:v>116.79259965860027</c:v>
                </c:pt>
                <c:pt idx="713">
                  <c:v>117.00722964153027</c:v>
                </c:pt>
                <c:pt idx="714">
                  <c:v>116.95953408976804</c:v>
                </c:pt>
                <c:pt idx="715">
                  <c:v>116.99677009070521</c:v>
                </c:pt>
                <c:pt idx="716">
                  <c:v>116.9047260434448</c:v>
                </c:pt>
                <c:pt idx="717">
                  <c:v>118.1159420289855</c:v>
                </c:pt>
                <c:pt idx="718">
                  <c:v>118.12556481574454</c:v>
                </c:pt>
                <c:pt idx="719">
                  <c:v>118.75564815744552</c:v>
                </c:pt>
                <c:pt idx="720">
                  <c:v>119.24766542825587</c:v>
                </c:pt>
                <c:pt idx="721">
                  <c:v>118.81756869832982</c:v>
                </c:pt>
                <c:pt idx="722">
                  <c:v>118.63431736787497</c:v>
                </c:pt>
                <c:pt idx="723">
                  <c:v>117.53606453124479</c:v>
                </c:pt>
                <c:pt idx="724">
                  <c:v>116.95158483114101</c:v>
                </c:pt>
                <c:pt idx="725">
                  <c:v>117.31892425611676</c:v>
                </c:pt>
                <c:pt idx="726">
                  <c:v>117.91009806874852</c:v>
                </c:pt>
                <c:pt idx="727">
                  <c:v>117.16621481407104</c:v>
                </c:pt>
                <c:pt idx="728">
                  <c:v>116.89761354888377</c:v>
                </c:pt>
                <c:pt idx="729">
                  <c:v>116.18887438497842</c:v>
                </c:pt>
                <c:pt idx="730">
                  <c:v>116.64156374468655</c:v>
                </c:pt>
                <c:pt idx="731">
                  <c:v>117.6695283997724</c:v>
                </c:pt>
                <c:pt idx="732">
                  <c:v>116.99258627037521</c:v>
                </c:pt>
                <c:pt idx="733">
                  <c:v>116.74113866854103</c:v>
                </c:pt>
                <c:pt idx="734">
                  <c:v>118.59122401847574</c:v>
                </c:pt>
                <c:pt idx="735">
                  <c:v>118.68033939150517</c:v>
                </c:pt>
                <c:pt idx="736">
                  <c:v>118.76987314656759</c:v>
                </c:pt>
                <c:pt idx="737">
                  <c:v>119.06525086186699</c:v>
                </c:pt>
                <c:pt idx="738">
                  <c:v>120.09488904508486</c:v>
                </c:pt>
                <c:pt idx="739">
                  <c:v>119.45476453459183</c:v>
                </c:pt>
                <c:pt idx="740">
                  <c:v>120.28399772400175</c:v>
                </c:pt>
                <c:pt idx="741">
                  <c:v>119.5551762225123</c:v>
                </c:pt>
                <c:pt idx="742">
                  <c:v>118.68368644776919</c:v>
                </c:pt>
                <c:pt idx="743">
                  <c:v>119.07403688456004</c:v>
                </c:pt>
                <c:pt idx="744">
                  <c:v>119.54471667168724</c:v>
                </c:pt>
                <c:pt idx="745">
                  <c:v>120.08903169662284</c:v>
                </c:pt>
                <c:pt idx="746">
                  <c:v>119.62044381966062</c:v>
                </c:pt>
                <c:pt idx="747">
                  <c:v>119.80997088061052</c:v>
                </c:pt>
                <c:pt idx="748">
                  <c:v>117.88959734913145</c:v>
                </c:pt>
                <c:pt idx="749">
                  <c:v>118.31676540482647</c:v>
                </c:pt>
                <c:pt idx="750">
                  <c:v>116.85661210964957</c:v>
                </c:pt>
                <c:pt idx="751">
                  <c:v>117.65321150048533</c:v>
                </c:pt>
                <c:pt idx="752">
                  <c:v>118.10422733206147</c:v>
                </c:pt>
                <c:pt idx="753">
                  <c:v>118.2611205944372</c:v>
                </c:pt>
                <c:pt idx="754">
                  <c:v>117.97076346353383</c:v>
                </c:pt>
                <c:pt idx="755">
                  <c:v>119.01504501790676</c:v>
                </c:pt>
                <c:pt idx="756">
                  <c:v>117.96908993540183</c:v>
                </c:pt>
                <c:pt idx="757">
                  <c:v>117.05827224955652</c:v>
                </c:pt>
                <c:pt idx="758">
                  <c:v>117.11433544197878</c:v>
                </c:pt>
                <c:pt idx="759">
                  <c:v>117.49297118184556</c:v>
                </c:pt>
                <c:pt idx="760">
                  <c:v>117.10931485758276</c:v>
                </c:pt>
                <c:pt idx="761">
                  <c:v>117.55698363289488</c:v>
                </c:pt>
                <c:pt idx="762">
                  <c:v>118.93262375740537</c:v>
                </c:pt>
                <c:pt idx="763">
                  <c:v>119.25686983298189</c:v>
                </c:pt>
                <c:pt idx="764">
                  <c:v>118.95521638718746</c:v>
                </c:pt>
                <c:pt idx="765">
                  <c:v>117.85947384275531</c:v>
                </c:pt>
                <c:pt idx="766">
                  <c:v>117.05869063158951</c:v>
                </c:pt>
                <c:pt idx="767">
                  <c:v>115.43829701777287</c:v>
                </c:pt>
                <c:pt idx="768">
                  <c:v>115.44708304046591</c:v>
                </c:pt>
                <c:pt idx="769">
                  <c:v>115.65752920306591</c:v>
                </c:pt>
                <c:pt idx="770">
                  <c:v>116.37965659202732</c:v>
                </c:pt>
                <c:pt idx="771">
                  <c:v>115.19940087692875</c:v>
                </c:pt>
                <c:pt idx="772">
                  <c:v>115.71150048532317</c:v>
                </c:pt>
                <c:pt idx="773">
                  <c:v>115.59309836998362</c:v>
                </c:pt>
                <c:pt idx="774">
                  <c:v>116.50517120192791</c:v>
                </c:pt>
                <c:pt idx="775">
                  <c:v>116.19598687953945</c:v>
                </c:pt>
                <c:pt idx="776">
                  <c:v>115.53326973926433</c:v>
                </c:pt>
                <c:pt idx="777">
                  <c:v>116.14243397931519</c:v>
                </c:pt>
                <c:pt idx="778">
                  <c:v>114.85214378953712</c:v>
                </c:pt>
                <c:pt idx="779">
                  <c:v>114.20783545871407</c:v>
                </c:pt>
                <c:pt idx="780">
                  <c:v>113.48905512601668</c:v>
                </c:pt>
                <c:pt idx="781">
                  <c:v>113.28823175017573</c:v>
                </c:pt>
                <c:pt idx="782">
                  <c:v>112.83972621079761</c:v>
                </c:pt>
                <c:pt idx="783">
                  <c:v>112.22219433008669</c:v>
                </c:pt>
                <c:pt idx="784">
                  <c:v>111.03106068213009</c:v>
                </c:pt>
                <c:pt idx="785">
                  <c:v>109.20273119791145</c:v>
                </c:pt>
                <c:pt idx="786">
                  <c:v>110.86077919469828</c:v>
                </c:pt>
                <c:pt idx="787">
                  <c:v>111.00637614218296</c:v>
                </c:pt>
                <c:pt idx="788">
                  <c:v>111.7962814204907</c:v>
                </c:pt>
                <c:pt idx="789">
                  <c:v>112.42385446999366</c:v>
                </c:pt>
                <c:pt idx="790">
                  <c:v>112.97821066372127</c:v>
                </c:pt>
                <c:pt idx="791">
                  <c:v>112.72801820798608</c:v>
                </c:pt>
                <c:pt idx="792">
                  <c:v>112.47155002175586</c:v>
                </c:pt>
                <c:pt idx="793">
                  <c:v>112.90624895404493</c:v>
                </c:pt>
                <c:pt idx="794">
                  <c:v>114.71575124677847</c:v>
                </c:pt>
                <c:pt idx="795">
                  <c:v>114.05177896040432</c:v>
                </c:pt>
                <c:pt idx="796">
                  <c:v>114.29360377547948</c:v>
                </c:pt>
                <c:pt idx="797">
                  <c:v>114.36347357499079</c:v>
                </c:pt>
                <c:pt idx="798">
                  <c:v>115.13287813368144</c:v>
                </c:pt>
                <c:pt idx="799">
                  <c:v>115.61945643806273</c:v>
                </c:pt>
                <c:pt idx="800">
                  <c:v>115.39896910667069</c:v>
                </c:pt>
                <c:pt idx="801">
                  <c:v>115.76965558791044</c:v>
                </c:pt>
                <c:pt idx="802">
                  <c:v>116.3553904341132</c:v>
                </c:pt>
                <c:pt idx="803">
                  <c:v>116.95116644910802</c:v>
                </c:pt>
                <c:pt idx="804">
                  <c:v>117.10429427318674</c:v>
                </c:pt>
                <c:pt idx="805">
                  <c:v>117.00513773136527</c:v>
                </c:pt>
                <c:pt idx="806">
                  <c:v>116.65662549787463</c:v>
                </c:pt>
                <c:pt idx="807">
                  <c:v>116.67001372293069</c:v>
                </c:pt>
                <c:pt idx="808">
                  <c:v>116.88255179569569</c:v>
                </c:pt>
                <c:pt idx="809">
                  <c:v>117.16746996017002</c:v>
                </c:pt>
                <c:pt idx="810">
                  <c:v>116.90765471767581</c:v>
                </c:pt>
                <c:pt idx="811">
                  <c:v>116.80473273755734</c:v>
                </c:pt>
                <c:pt idx="812">
                  <c:v>116.65620711584161</c:v>
                </c:pt>
                <c:pt idx="813">
                  <c:v>115.9541620644643</c:v>
                </c:pt>
                <c:pt idx="814">
                  <c:v>116.3779830638953</c:v>
                </c:pt>
                <c:pt idx="815">
                  <c:v>118.33057201191552</c:v>
                </c:pt>
                <c:pt idx="816">
                  <c:v>118.81631355223084</c:v>
                </c:pt>
                <c:pt idx="817">
                  <c:v>119.28364628309403</c:v>
                </c:pt>
                <c:pt idx="818">
                  <c:v>118.8150584061318</c:v>
                </c:pt>
                <c:pt idx="819">
                  <c:v>118.62971516551195</c:v>
                </c:pt>
                <c:pt idx="820">
                  <c:v>119.76729591324431</c:v>
                </c:pt>
                <c:pt idx="821">
                  <c:v>119.16691769588648</c:v>
                </c:pt>
                <c:pt idx="822">
                  <c:v>118.70084011112228</c:v>
                </c:pt>
                <c:pt idx="823">
                  <c:v>118.02933694815411</c:v>
                </c:pt>
                <c:pt idx="824">
                  <c:v>117.66450781537638</c:v>
                </c:pt>
                <c:pt idx="825">
                  <c:v>117.23064564715332</c:v>
                </c:pt>
                <c:pt idx="826">
                  <c:v>117.75697024466982</c:v>
                </c:pt>
                <c:pt idx="827">
                  <c:v>117.70509087257759</c:v>
                </c:pt>
                <c:pt idx="828">
                  <c:v>118.0682464772233</c:v>
                </c:pt>
                <c:pt idx="829">
                  <c:v>117.59421963383205</c:v>
                </c:pt>
                <c:pt idx="830">
                  <c:v>116.84447903069251</c:v>
                </c:pt>
                <c:pt idx="831">
                  <c:v>117.36327275161496</c:v>
                </c:pt>
                <c:pt idx="832">
                  <c:v>117.2486360745724</c:v>
                </c:pt>
                <c:pt idx="833">
                  <c:v>117.08337517153664</c:v>
                </c:pt>
                <c:pt idx="834">
                  <c:v>117.52518659838674</c:v>
                </c:pt>
                <c:pt idx="835">
                  <c:v>116.95576865147103</c:v>
                </c:pt>
                <c:pt idx="836">
                  <c:v>116.13741339491916</c:v>
                </c:pt>
                <c:pt idx="837">
                  <c:v>115.7370217893363</c:v>
                </c:pt>
                <c:pt idx="838">
                  <c:v>114.39819928372998</c:v>
                </c:pt>
                <c:pt idx="839">
                  <c:v>115.15421561736451</c:v>
                </c:pt>
                <c:pt idx="840">
                  <c:v>114.76302841650769</c:v>
                </c:pt>
                <c:pt idx="841">
                  <c:v>115.10777521170132</c:v>
                </c:pt>
                <c:pt idx="842">
                  <c:v>115.99976570606152</c:v>
                </c:pt>
                <c:pt idx="843">
                  <c:v>115.72070489004919</c:v>
                </c:pt>
                <c:pt idx="844">
                  <c:v>115.69099976570607</c:v>
                </c:pt>
                <c:pt idx="845">
                  <c:v>115.94412089567226</c:v>
                </c:pt>
                <c:pt idx="846">
                  <c:v>115.69769387823411</c:v>
                </c:pt>
                <c:pt idx="847">
                  <c:v>115.25128024902101</c:v>
                </c:pt>
                <c:pt idx="848">
                  <c:v>115.24876995682298</c:v>
                </c:pt>
                <c:pt idx="849">
                  <c:v>116.5633263045152</c:v>
                </c:pt>
                <c:pt idx="850">
                  <c:v>114.85674599190014</c:v>
                </c:pt>
                <c:pt idx="851">
                  <c:v>113.77522843659003</c:v>
                </c:pt>
                <c:pt idx="852">
                  <c:v>115.53996385179236</c:v>
                </c:pt>
                <c:pt idx="853">
                  <c:v>115.0232620410349</c:v>
                </c:pt>
                <c:pt idx="854">
                  <c:v>113.76142182950095</c:v>
                </c:pt>
                <c:pt idx="855">
                  <c:v>114.97054590487667</c:v>
                </c:pt>
                <c:pt idx="856">
                  <c:v>115.86169963517088</c:v>
                </c:pt>
                <c:pt idx="857">
                  <c:v>115.18684941593868</c:v>
                </c:pt>
                <c:pt idx="858">
                  <c:v>115.35378384710646</c:v>
                </c:pt>
                <c:pt idx="859">
                  <c:v>116.89845031294976</c:v>
                </c:pt>
                <c:pt idx="860">
                  <c:v>116.79678347893029</c:v>
                </c:pt>
                <c:pt idx="861">
                  <c:v>116.43948522274661</c:v>
                </c:pt>
                <c:pt idx="862">
                  <c:v>117.50468587876964</c:v>
                </c:pt>
                <c:pt idx="863">
                  <c:v>117.2222780064933</c:v>
                </c:pt>
                <c:pt idx="864">
                  <c:v>117.39297787595811</c:v>
                </c:pt>
                <c:pt idx="865">
                  <c:v>117.5000836764066</c:v>
                </c:pt>
                <c:pt idx="866">
                  <c:v>118.88074438531314</c:v>
                </c:pt>
                <c:pt idx="867">
                  <c:v>118.69372761656123</c:v>
                </c:pt>
                <c:pt idx="868">
                  <c:v>118.3460521471366</c:v>
                </c:pt>
                <c:pt idx="869">
                  <c:v>118.24480369515011</c:v>
                </c:pt>
                <c:pt idx="870">
                  <c:v>118.79664959667973</c:v>
                </c:pt>
                <c:pt idx="871">
                  <c:v>118.86024366569603</c:v>
                </c:pt>
                <c:pt idx="872">
                  <c:v>118.46445426247615</c:v>
                </c:pt>
                <c:pt idx="873">
                  <c:v>117.59045419553502</c:v>
                </c:pt>
                <c:pt idx="874">
                  <c:v>117.53941158750879</c:v>
                </c:pt>
                <c:pt idx="875">
                  <c:v>116.6302674297955</c:v>
                </c:pt>
                <c:pt idx="876">
                  <c:v>117.14780600461894</c:v>
                </c:pt>
                <c:pt idx="877">
                  <c:v>118.71966730260736</c:v>
                </c:pt>
                <c:pt idx="878">
                  <c:v>117.31013823342371</c:v>
                </c:pt>
                <c:pt idx="879">
                  <c:v>116.6490946212806</c:v>
                </c:pt>
                <c:pt idx="880">
                  <c:v>115.99683703183052</c:v>
                </c:pt>
                <c:pt idx="881">
                  <c:v>115.6106704153697</c:v>
                </c:pt>
                <c:pt idx="882">
                  <c:v>116.30769488235097</c:v>
                </c:pt>
                <c:pt idx="883">
                  <c:v>118.56277404023163</c:v>
                </c:pt>
                <c:pt idx="884">
                  <c:v>119.30540214881013</c:v>
                </c:pt>
                <c:pt idx="885">
                  <c:v>118.80961943970279</c:v>
                </c:pt>
                <c:pt idx="886">
                  <c:v>118.31467349466145</c:v>
                </c:pt>
                <c:pt idx="887">
                  <c:v>116.93443116778795</c:v>
                </c:pt>
                <c:pt idx="888">
                  <c:v>116.09390166348696</c:v>
                </c:pt>
                <c:pt idx="889">
                  <c:v>115.98637748100546</c:v>
                </c:pt>
                <c:pt idx="890">
                  <c:v>115.91567091742814</c:v>
                </c:pt>
                <c:pt idx="891">
                  <c:v>116.59596010308934</c:v>
                </c:pt>
                <c:pt idx="892">
                  <c:v>118.64101148040301</c:v>
                </c:pt>
                <c:pt idx="893">
                  <c:v>119.31711684573418</c:v>
                </c:pt>
                <c:pt idx="894">
                  <c:v>120.20785219399539</c:v>
                </c:pt>
                <c:pt idx="895">
                  <c:v>120.00744720018743</c:v>
                </c:pt>
                <c:pt idx="896">
                  <c:v>120.0174883689795</c:v>
                </c:pt>
                <c:pt idx="897">
                  <c:v>119.34514844194533</c:v>
                </c:pt>
                <c:pt idx="898">
                  <c:v>119.54136961542325</c:v>
                </c:pt>
                <c:pt idx="899">
                  <c:v>119.43342705090873</c:v>
                </c:pt>
                <c:pt idx="900">
                  <c:v>120.61828496837033</c:v>
                </c:pt>
                <c:pt idx="901">
                  <c:v>120.53879238209994</c:v>
                </c:pt>
                <c:pt idx="902">
                  <c:v>119.89866787160692</c:v>
                </c:pt>
                <c:pt idx="903">
                  <c:v>120.35135723131506</c:v>
                </c:pt>
                <c:pt idx="904">
                  <c:v>120.18358603608128</c:v>
                </c:pt>
                <c:pt idx="905">
                  <c:v>120.40658365967131</c:v>
                </c:pt>
                <c:pt idx="906">
                  <c:v>120.45929979582959</c:v>
                </c:pt>
                <c:pt idx="907">
                  <c:v>120.60782541754527</c:v>
                </c:pt>
                <c:pt idx="908">
                  <c:v>120.99482879807209</c:v>
                </c:pt>
                <c:pt idx="909">
                  <c:v>120.81617966998026</c:v>
                </c:pt>
                <c:pt idx="910">
                  <c:v>120.90403989691067</c:v>
                </c:pt>
                <c:pt idx="911">
                  <c:v>121.44668139371424</c:v>
                </c:pt>
                <c:pt idx="912">
                  <c:v>121.60817685845299</c:v>
                </c:pt>
                <c:pt idx="913">
                  <c:v>121.70440472604345</c:v>
                </c:pt>
                <c:pt idx="914">
                  <c:v>119.64931217993775</c:v>
                </c:pt>
                <c:pt idx="915">
                  <c:v>119.49032700739701</c:v>
                </c:pt>
                <c:pt idx="916">
                  <c:v>119.8313083642936</c:v>
                </c:pt>
                <c:pt idx="917">
                  <c:v>121.08770960939854</c:v>
                </c:pt>
                <c:pt idx="918">
                  <c:v>119.01797369213776</c:v>
                </c:pt>
                <c:pt idx="919">
                  <c:v>119.41167118519263</c:v>
                </c:pt>
                <c:pt idx="920">
                  <c:v>118.42470796934097</c:v>
                </c:pt>
                <c:pt idx="921">
                  <c:v>117.39381464002412</c:v>
                </c:pt>
                <c:pt idx="922">
                  <c:v>117.28378016534458</c:v>
                </c:pt>
                <c:pt idx="923">
                  <c:v>115.83994376945479</c:v>
                </c:pt>
                <c:pt idx="924">
                  <c:v>114.71616962881149</c:v>
                </c:pt>
                <c:pt idx="925">
                  <c:v>115.92487532215416</c:v>
                </c:pt>
                <c:pt idx="926">
                  <c:v>115.94161060347426</c:v>
                </c:pt>
                <c:pt idx="927">
                  <c:v>115.01991498477089</c:v>
                </c:pt>
                <c:pt idx="928">
                  <c:v>114.72411888743852</c:v>
                </c:pt>
                <c:pt idx="929">
                  <c:v>115.0651002443351</c:v>
                </c:pt>
                <c:pt idx="930">
                  <c:v>115.15923620176054</c:v>
                </c:pt>
                <c:pt idx="931">
                  <c:v>116.28008166817285</c:v>
                </c:pt>
                <c:pt idx="932">
                  <c:v>116.15080161997524</c:v>
                </c:pt>
                <c:pt idx="933">
                  <c:v>115.85835257890685</c:v>
                </c:pt>
                <c:pt idx="934">
                  <c:v>113.4296448773304</c:v>
                </c:pt>
                <c:pt idx="935">
                  <c:v>112.35733172674634</c:v>
                </c:pt>
                <c:pt idx="936">
                  <c:v>110.89927034173445</c:v>
                </c:pt>
                <c:pt idx="937">
                  <c:v>112.2016936104696</c:v>
                </c:pt>
                <c:pt idx="938">
                  <c:v>113.94634668808783</c:v>
                </c:pt>
                <c:pt idx="939">
                  <c:v>114.64211600897012</c:v>
                </c:pt>
                <c:pt idx="940">
                  <c:v>114.55300063594069</c:v>
                </c:pt>
                <c:pt idx="941">
                  <c:v>115.14166415637447</c:v>
                </c:pt>
                <c:pt idx="942">
                  <c:v>114.62119690732003</c:v>
                </c:pt>
                <c:pt idx="943">
                  <c:v>114.35719784449579</c:v>
                </c:pt>
                <c:pt idx="944">
                  <c:v>115.98721424507148</c:v>
                </c:pt>
                <c:pt idx="945">
                  <c:v>114.50697861231048</c:v>
                </c:pt>
                <c:pt idx="946">
                  <c:v>115.64330421394385</c:v>
                </c:pt>
                <c:pt idx="947">
                  <c:v>116.76582320848814</c:v>
                </c:pt>
                <c:pt idx="948">
                  <c:v>116.87083709877164</c:v>
                </c:pt>
                <c:pt idx="949">
                  <c:v>117.64944606218832</c:v>
                </c:pt>
                <c:pt idx="950">
                  <c:v>117.09508986846072</c:v>
                </c:pt>
                <c:pt idx="951">
                  <c:v>117.45657194497441</c:v>
                </c:pt>
                <c:pt idx="952">
                  <c:v>117.15240820698196</c:v>
                </c:pt>
                <c:pt idx="953">
                  <c:v>117.94315024935571</c:v>
                </c:pt>
                <c:pt idx="954">
                  <c:v>119.23511396726579</c:v>
                </c:pt>
                <c:pt idx="955">
                  <c:v>119.19369414599861</c:v>
                </c:pt>
                <c:pt idx="956">
                  <c:v>119.10039495263915</c:v>
                </c:pt>
                <c:pt idx="957">
                  <c:v>119.28490142919304</c:v>
                </c:pt>
                <c:pt idx="958">
                  <c:v>119.85557452220772</c:v>
                </c:pt>
                <c:pt idx="959">
                  <c:v>119.29536098001807</c:v>
                </c:pt>
                <c:pt idx="960">
                  <c:v>119.7413562271982</c:v>
                </c:pt>
                <c:pt idx="961">
                  <c:v>119.7421929912642</c:v>
                </c:pt>
                <c:pt idx="962">
                  <c:v>120.25345583559259</c:v>
                </c:pt>
                <c:pt idx="963">
                  <c:v>119.62211734779262</c:v>
                </c:pt>
                <c:pt idx="964">
                  <c:v>120.21747498075443</c:v>
                </c:pt>
                <c:pt idx="965">
                  <c:v>120.61242761990829</c:v>
                </c:pt>
                <c:pt idx="966">
                  <c:v>121.23749037721325</c:v>
                </c:pt>
                <c:pt idx="967">
                  <c:v>119.84302306121768</c:v>
                </c:pt>
                <c:pt idx="968">
                  <c:v>120.07187803326973</c:v>
                </c:pt>
                <c:pt idx="969">
                  <c:v>120.25638450982363</c:v>
                </c:pt>
                <c:pt idx="970">
                  <c:v>120.91826488603274</c:v>
                </c:pt>
                <c:pt idx="971">
                  <c:v>121.09607725005857</c:v>
                </c:pt>
                <c:pt idx="972">
                  <c:v>122.03199785788401</c:v>
                </c:pt>
                <c:pt idx="973">
                  <c:v>121.75419218797067</c:v>
                </c:pt>
                <c:pt idx="974">
                  <c:v>120.25471098169163</c:v>
                </c:pt>
                <c:pt idx="975">
                  <c:v>121.29564547980051</c:v>
                </c:pt>
                <c:pt idx="976">
                  <c:v>120.94294942597985</c:v>
                </c:pt>
                <c:pt idx="977">
                  <c:v>119.89657596144193</c:v>
                </c:pt>
                <c:pt idx="978">
                  <c:v>119.70537537236001</c:v>
                </c:pt>
                <c:pt idx="979">
                  <c:v>120.33294842186297</c:v>
                </c:pt>
                <c:pt idx="980">
                  <c:v>120.87098771630353</c:v>
                </c:pt>
                <c:pt idx="981">
                  <c:v>120.68940991398067</c:v>
                </c:pt>
                <c:pt idx="982">
                  <c:v>118.8991531947652</c:v>
                </c:pt>
                <c:pt idx="983">
                  <c:v>119.68194597851192</c:v>
                </c:pt>
                <c:pt idx="984">
                  <c:v>119.84385982528367</c:v>
                </c:pt>
                <c:pt idx="985">
                  <c:v>118.80836429360377</c:v>
                </c:pt>
                <c:pt idx="986">
                  <c:v>120.6337651035914</c:v>
                </c:pt>
                <c:pt idx="987">
                  <c:v>120.51452622418583</c:v>
                </c:pt>
                <c:pt idx="988">
                  <c:v>120.96052147136594</c:v>
                </c:pt>
                <c:pt idx="989">
                  <c:v>122.15291026542157</c:v>
                </c:pt>
                <c:pt idx="990">
                  <c:v>122.90892659905612</c:v>
                </c:pt>
                <c:pt idx="991">
                  <c:v>122.61396726578975</c:v>
                </c:pt>
                <c:pt idx="992">
                  <c:v>123.8540516116076</c:v>
                </c:pt>
                <c:pt idx="993">
                  <c:v>124.88494494092446</c:v>
                </c:pt>
                <c:pt idx="994">
                  <c:v>125.69116711851926</c:v>
                </c:pt>
                <c:pt idx="995">
                  <c:v>126.00913746360078</c:v>
                </c:pt>
                <c:pt idx="996">
                  <c:v>126.27146299829302</c:v>
                </c:pt>
                <c:pt idx="997">
                  <c:v>125.7857214579777</c:v>
                </c:pt>
                <c:pt idx="998">
                  <c:v>126.0149948120628</c:v>
                </c:pt>
                <c:pt idx="999">
                  <c:v>126.09281387020117</c:v>
                </c:pt>
                <c:pt idx="1000">
                  <c:v>125.91123606787831</c:v>
                </c:pt>
                <c:pt idx="1001">
                  <c:v>125.53511062020952</c:v>
                </c:pt>
                <c:pt idx="1002">
                  <c:v>126.58190246678049</c:v>
                </c:pt>
                <c:pt idx="1003">
                  <c:v>126.73795896509019</c:v>
                </c:pt>
                <c:pt idx="1004">
                  <c:v>127.1387689527061</c:v>
                </c:pt>
                <c:pt idx="1005">
                  <c:v>126.87937209224486</c:v>
                </c:pt>
                <c:pt idx="1006">
                  <c:v>126.39195702379757</c:v>
                </c:pt>
                <c:pt idx="1007">
                  <c:v>127.11492117682499</c:v>
                </c:pt>
                <c:pt idx="1008">
                  <c:v>126.31832178598923</c:v>
                </c:pt>
                <c:pt idx="1009">
                  <c:v>125.88027579743614</c:v>
                </c:pt>
                <c:pt idx="1010">
                  <c:v>125.96980955249859</c:v>
                </c:pt>
                <c:pt idx="1011">
                  <c:v>125.91751179837334</c:v>
                </c:pt>
                <c:pt idx="1012">
                  <c:v>125.79952806506678</c:v>
                </c:pt>
                <c:pt idx="1013">
                  <c:v>125.58698999230178</c:v>
                </c:pt>
                <c:pt idx="1014">
                  <c:v>127.78558757572715</c:v>
                </c:pt>
                <c:pt idx="1015">
                  <c:v>127.3927268467383</c:v>
                </c:pt>
                <c:pt idx="1016">
                  <c:v>128.12364025839275</c:v>
                </c:pt>
                <c:pt idx="1017">
                  <c:v>129.18507547611878</c:v>
                </c:pt>
                <c:pt idx="1018">
                  <c:v>130.25906215483482</c:v>
                </c:pt>
                <c:pt idx="1019">
                  <c:v>129.94402048398433</c:v>
                </c:pt>
                <c:pt idx="1020">
                  <c:v>130.47118184556683</c:v>
                </c:pt>
                <c:pt idx="1021">
                  <c:v>131.15147103122803</c:v>
                </c:pt>
                <c:pt idx="1022">
                  <c:v>131.05022257924156</c:v>
                </c:pt>
                <c:pt idx="1023">
                  <c:v>129.97079693409648</c:v>
                </c:pt>
                <c:pt idx="1024">
                  <c:v>130.47913110419387</c:v>
                </c:pt>
                <c:pt idx="1025">
                  <c:v>130.18793720922449</c:v>
                </c:pt>
                <c:pt idx="1026">
                  <c:v>130.22224453593066</c:v>
                </c:pt>
                <c:pt idx="1027">
                  <c:v>130.87826756367775</c:v>
                </c:pt>
                <c:pt idx="1028">
                  <c:v>130.10844462295412</c:v>
                </c:pt>
                <c:pt idx="1029">
                  <c:v>130.09254610570005</c:v>
                </c:pt>
                <c:pt idx="1030">
                  <c:v>129.99004250761453</c:v>
                </c:pt>
                <c:pt idx="1031">
                  <c:v>130.4640693510058</c:v>
                </c:pt>
                <c:pt idx="1032">
                  <c:v>129.76035077149649</c:v>
                </c:pt>
                <c:pt idx="1033">
                  <c:v>130.41386350704556</c:v>
                </c:pt>
                <c:pt idx="1034">
                  <c:v>130.03731967734379</c:v>
                </c:pt>
                <c:pt idx="1035">
                  <c:v>130.15614017471634</c:v>
                </c:pt>
                <c:pt idx="1036">
                  <c:v>130.31805402148811</c:v>
                </c:pt>
                <c:pt idx="1037">
                  <c:v>129.44028851624995</c:v>
                </c:pt>
                <c:pt idx="1038">
                  <c:v>128.99764032533386</c:v>
                </c:pt>
                <c:pt idx="1039">
                  <c:v>129.60513103725276</c:v>
                </c:pt>
                <c:pt idx="1040">
                  <c:v>129.81515881781974</c:v>
                </c:pt>
                <c:pt idx="1041">
                  <c:v>130.73350738025906</c:v>
                </c:pt>
                <c:pt idx="1042">
                  <c:v>129.70596110720621</c:v>
                </c:pt>
                <c:pt idx="1043">
                  <c:v>129.40681795360982</c:v>
                </c:pt>
                <c:pt idx="1044">
                  <c:v>129.63985674599189</c:v>
                </c:pt>
                <c:pt idx="1045">
                  <c:v>129.83607791946983</c:v>
                </c:pt>
                <c:pt idx="1046">
                  <c:v>130.25320480637282</c:v>
                </c:pt>
                <c:pt idx="1047">
                  <c:v>129.60554941928575</c:v>
                </c:pt>
                <c:pt idx="1048">
                  <c:v>130.18124309669645</c:v>
                </c:pt>
                <c:pt idx="1049">
                  <c:v>130.89625799109686</c:v>
                </c:pt>
                <c:pt idx="1050">
                  <c:v>131.36693777822407</c:v>
                </c:pt>
                <c:pt idx="1051">
                  <c:v>130.61761555711752</c:v>
                </c:pt>
                <c:pt idx="1052">
                  <c:v>128.49600026776452</c:v>
                </c:pt>
                <c:pt idx="1053">
                  <c:v>127.88641764568062</c:v>
                </c:pt>
                <c:pt idx="1054">
                  <c:v>126.79778759580948</c:v>
                </c:pt>
                <c:pt idx="1055">
                  <c:v>127.19525052716136</c:v>
                </c:pt>
                <c:pt idx="1056">
                  <c:v>127.42703417344447</c:v>
                </c:pt>
                <c:pt idx="1057">
                  <c:v>127.05132710780869</c:v>
                </c:pt>
                <c:pt idx="1058">
                  <c:v>126.28777989758009</c:v>
                </c:pt>
                <c:pt idx="1059">
                  <c:v>125.33554239046758</c:v>
                </c:pt>
                <c:pt idx="1060">
                  <c:v>125.06694112528034</c:v>
                </c:pt>
                <c:pt idx="1061">
                  <c:v>126.3756401245105</c:v>
                </c:pt>
                <c:pt idx="1062">
                  <c:v>126.08695652173914</c:v>
                </c:pt>
                <c:pt idx="1063">
                  <c:v>126.80448170833752</c:v>
                </c:pt>
                <c:pt idx="1064">
                  <c:v>129.28214010777523</c:v>
                </c:pt>
                <c:pt idx="1065">
                  <c:v>129.48547377581417</c:v>
                </c:pt>
                <c:pt idx="1066">
                  <c:v>129.92854034876328</c:v>
                </c:pt>
                <c:pt idx="1067">
                  <c:v>130.43185393446467</c:v>
                </c:pt>
                <c:pt idx="1068">
                  <c:v>131.57445526659305</c:v>
                </c:pt>
                <c:pt idx="1069">
                  <c:v>131.778207316665</c:v>
                </c:pt>
                <c:pt idx="1070">
                  <c:v>132.01794022157515</c:v>
                </c:pt>
                <c:pt idx="1071">
                  <c:v>130.49795829567896</c:v>
                </c:pt>
                <c:pt idx="1072">
                  <c:v>131.32886501322088</c:v>
                </c:pt>
                <c:pt idx="1073">
                  <c:v>131.49956488268572</c:v>
                </c:pt>
                <c:pt idx="1074">
                  <c:v>132.12086220169363</c:v>
                </c:pt>
                <c:pt idx="1075">
                  <c:v>132.31331793687454</c:v>
                </c:pt>
                <c:pt idx="1076">
                  <c:v>132.06438062723836</c:v>
                </c:pt>
                <c:pt idx="1077">
                  <c:v>133.0647320681461</c:v>
                </c:pt>
                <c:pt idx="1078">
                  <c:v>133.0705894166081</c:v>
                </c:pt>
                <c:pt idx="1079">
                  <c:v>134.19101650098739</c:v>
                </c:pt>
                <c:pt idx="1080">
                  <c:v>136.14695250527163</c:v>
                </c:pt>
                <c:pt idx="1081">
                  <c:v>136.44567727683503</c:v>
                </c:pt>
                <c:pt idx="1082">
                  <c:v>137.05400475281991</c:v>
                </c:pt>
                <c:pt idx="1083">
                  <c:v>137.19667302607357</c:v>
                </c:pt>
                <c:pt idx="1084">
                  <c:v>136.30844797001038</c:v>
                </c:pt>
                <c:pt idx="1085">
                  <c:v>136.1846068882418</c:v>
                </c:pt>
                <c:pt idx="1086">
                  <c:v>135.57586103022393</c:v>
                </c:pt>
                <c:pt idx="1087">
                  <c:v>133.01954680858185</c:v>
                </c:pt>
                <c:pt idx="1088">
                  <c:v>132.3756568597918</c:v>
                </c:pt>
                <c:pt idx="1089">
                  <c:v>132.96850420055563</c:v>
                </c:pt>
                <c:pt idx="1090">
                  <c:v>132.20621213642602</c:v>
                </c:pt>
                <c:pt idx="1091">
                  <c:v>132.97603507714965</c:v>
                </c:pt>
                <c:pt idx="1092">
                  <c:v>132.44761856946815</c:v>
                </c:pt>
                <c:pt idx="1093">
                  <c:v>130.93935134049605</c:v>
                </c:pt>
                <c:pt idx="1094">
                  <c:v>130.66656625497873</c:v>
                </c:pt>
                <c:pt idx="1095">
                  <c:v>131.20125849315528</c:v>
                </c:pt>
                <c:pt idx="1096">
                  <c:v>132.86767413060215</c:v>
                </c:pt>
                <c:pt idx="1097">
                  <c:v>133.44085751581486</c:v>
                </c:pt>
                <c:pt idx="1098">
                  <c:v>133.3429561200924</c:v>
                </c:pt>
                <c:pt idx="1099">
                  <c:v>134.92234829467483</c:v>
                </c:pt>
                <c:pt idx="1100">
                  <c:v>136.25949727214916</c:v>
                </c:pt>
                <c:pt idx="1101">
                  <c:v>136.63353080965294</c:v>
                </c:pt>
                <c:pt idx="1102">
                  <c:v>137.57572714797337</c:v>
                </c:pt>
                <c:pt idx="1103">
                  <c:v>137.94432171904811</c:v>
                </c:pt>
                <c:pt idx="1104">
                  <c:v>138.11711349867792</c:v>
                </c:pt>
                <c:pt idx="1105">
                  <c:v>137.98950697861233</c:v>
                </c:pt>
                <c:pt idx="1106">
                  <c:v>137.30210529839007</c:v>
                </c:pt>
                <c:pt idx="1107">
                  <c:v>138.50579040733678</c:v>
                </c:pt>
                <c:pt idx="1108">
                  <c:v>139.50446832011247</c:v>
                </c:pt>
                <c:pt idx="1109">
                  <c:v>139.614502794792</c:v>
                </c:pt>
                <c:pt idx="1110">
                  <c:v>138.96893931786994</c:v>
                </c:pt>
                <c:pt idx="1111">
                  <c:v>138.26020015396458</c:v>
                </c:pt>
                <c:pt idx="1112">
                  <c:v>138.44386986645247</c:v>
                </c:pt>
                <c:pt idx="1113">
                  <c:v>135.73108076446766</c:v>
                </c:pt>
                <c:pt idx="1114">
                  <c:v>138.12338922917294</c:v>
                </c:pt>
                <c:pt idx="1115">
                  <c:v>138.42002209057136</c:v>
                </c:pt>
                <c:pt idx="1116">
                  <c:v>138.80116812263617</c:v>
                </c:pt>
                <c:pt idx="1117">
                  <c:v>137.62342269973558</c:v>
                </c:pt>
                <c:pt idx="1118">
                  <c:v>138.14221642065806</c:v>
                </c:pt>
                <c:pt idx="1119">
                  <c:v>138.15644140978009</c:v>
                </c:pt>
                <c:pt idx="1120">
                  <c:v>137.0519128426549</c:v>
                </c:pt>
                <c:pt idx="1121">
                  <c:v>134.89766375472772</c:v>
                </c:pt>
                <c:pt idx="1122">
                  <c:v>133.85170867222277</c:v>
                </c:pt>
                <c:pt idx="1123">
                  <c:v>135.21396057167721</c:v>
                </c:pt>
                <c:pt idx="1124">
                  <c:v>136.06745991900124</c:v>
                </c:pt>
                <c:pt idx="1125">
                  <c:v>136.09674666131139</c:v>
                </c:pt>
                <c:pt idx="1126">
                  <c:v>136.34024500451852</c:v>
                </c:pt>
                <c:pt idx="1127">
                  <c:v>136.2101281922549</c:v>
                </c:pt>
                <c:pt idx="1128">
                  <c:v>134.80478294340131</c:v>
                </c:pt>
                <c:pt idx="1129">
                  <c:v>136.15322823576665</c:v>
                </c:pt>
                <c:pt idx="1130">
                  <c:v>137.41799712153161</c:v>
                </c:pt>
                <c:pt idx="1131">
                  <c:v>138.10581718378685</c:v>
                </c:pt>
                <c:pt idx="1132">
                  <c:v>138.8798239448405</c:v>
                </c:pt>
                <c:pt idx="1133">
                  <c:v>139.08315761287949</c:v>
                </c:pt>
                <c:pt idx="1134">
                  <c:v>138.94425477792282</c:v>
                </c:pt>
                <c:pt idx="1135">
                  <c:v>138.7471968403789</c:v>
                </c:pt>
                <c:pt idx="1136">
                  <c:v>138.35098905512601</c:v>
                </c:pt>
                <c:pt idx="1137">
                  <c:v>139.11202597315662</c:v>
                </c:pt>
                <c:pt idx="1138">
                  <c:v>138.04849884526561</c:v>
                </c:pt>
                <c:pt idx="1139">
                  <c:v>137.43096696455467</c:v>
                </c:pt>
                <c:pt idx="1140">
                  <c:v>138.46562573216858</c:v>
                </c:pt>
                <c:pt idx="1141">
                  <c:v>137.70960939853401</c:v>
                </c:pt>
                <c:pt idx="1142">
                  <c:v>136.14653412323861</c:v>
                </c:pt>
                <c:pt idx="1143">
                  <c:v>136.95777688522946</c:v>
                </c:pt>
                <c:pt idx="1144">
                  <c:v>136.43981992837303</c:v>
                </c:pt>
                <c:pt idx="1145">
                  <c:v>137.79914315359642</c:v>
                </c:pt>
                <c:pt idx="1146">
                  <c:v>138.39115373029421</c:v>
                </c:pt>
                <c:pt idx="1147">
                  <c:v>140.01363925427589</c:v>
                </c:pt>
                <c:pt idx="1148">
                  <c:v>139.43627204873314</c:v>
                </c:pt>
                <c:pt idx="1149">
                  <c:v>140.2119523379188</c:v>
                </c:pt>
                <c:pt idx="1150">
                  <c:v>139.88519597014425</c:v>
                </c:pt>
                <c:pt idx="1151">
                  <c:v>141.13657663085317</c:v>
                </c:pt>
                <c:pt idx="1152">
                  <c:v>143.12681996184358</c:v>
                </c:pt>
                <c:pt idx="1153">
                  <c:v>143.02682665595609</c:v>
                </c:pt>
                <c:pt idx="1154">
                  <c:v>142.91888409144158</c:v>
                </c:pt>
                <c:pt idx="1155">
                  <c:v>142.7335408508217</c:v>
                </c:pt>
                <c:pt idx="1156">
                  <c:v>142.81512534725712</c:v>
                </c:pt>
                <c:pt idx="1157">
                  <c:v>143.34019479867456</c:v>
                </c:pt>
                <c:pt idx="1158">
                  <c:v>143.85271278910199</c:v>
                </c:pt>
                <c:pt idx="1159">
                  <c:v>145.4856578639087</c:v>
                </c:pt>
                <c:pt idx="1160">
                  <c:v>145.16894266492622</c:v>
                </c:pt>
                <c:pt idx="1161">
                  <c:v>146.00361482076514</c:v>
                </c:pt>
                <c:pt idx="1162">
                  <c:v>146.3332998627707</c:v>
                </c:pt>
                <c:pt idx="1163">
                  <c:v>146.36886233557587</c:v>
                </c:pt>
                <c:pt idx="1164">
                  <c:v>145.91659135790073</c:v>
                </c:pt>
                <c:pt idx="1165">
                  <c:v>146.75419218797069</c:v>
                </c:pt>
                <c:pt idx="1166">
                  <c:v>146.30987046892258</c:v>
                </c:pt>
                <c:pt idx="1167">
                  <c:v>146.36802557150986</c:v>
                </c:pt>
                <c:pt idx="1168">
                  <c:v>147.07718311744821</c:v>
                </c:pt>
                <c:pt idx="1169">
                  <c:v>147.03869197041203</c:v>
                </c:pt>
                <c:pt idx="1170">
                  <c:v>147.14412424272854</c:v>
                </c:pt>
                <c:pt idx="1171">
                  <c:v>147.93402952103628</c:v>
                </c:pt>
                <c:pt idx="1172">
                  <c:v>148.27291896776785</c:v>
                </c:pt>
                <c:pt idx="1173">
                  <c:v>148.25911236067878</c:v>
                </c:pt>
                <c:pt idx="1174">
                  <c:v>148.65741205609669</c:v>
                </c:pt>
                <c:pt idx="1175">
                  <c:v>148.60887974026843</c:v>
                </c:pt>
                <c:pt idx="1176">
                  <c:v>149.12683669712487</c:v>
                </c:pt>
                <c:pt idx="1177">
                  <c:v>148.38671888074438</c:v>
                </c:pt>
                <c:pt idx="1178">
                  <c:v>148.21267195501557</c:v>
                </c:pt>
                <c:pt idx="1179">
                  <c:v>149.08039629146168</c:v>
                </c:pt>
                <c:pt idx="1180">
                  <c:v>150.26901964722029</c:v>
                </c:pt>
                <c:pt idx="1181">
                  <c:v>151.02880141915188</c:v>
                </c:pt>
                <c:pt idx="1182">
                  <c:v>151.87016768751883</c:v>
                </c:pt>
                <c:pt idx="1183">
                  <c:v>150.95600294540952</c:v>
                </c:pt>
                <c:pt idx="1184">
                  <c:v>151.63629213107072</c:v>
                </c:pt>
                <c:pt idx="1185">
                  <c:v>151.82916624828465</c:v>
                </c:pt>
                <c:pt idx="1186">
                  <c:v>150.845550088697</c:v>
                </c:pt>
                <c:pt idx="1187">
                  <c:v>151.08235431937612</c:v>
                </c:pt>
                <c:pt idx="1188">
                  <c:v>151.12042708437929</c:v>
                </c:pt>
                <c:pt idx="1189">
                  <c:v>152.1994343474914</c:v>
                </c:pt>
                <c:pt idx="1190">
                  <c:v>151.9471499815912</c:v>
                </c:pt>
                <c:pt idx="1191">
                  <c:v>151.74339793151924</c:v>
                </c:pt>
                <c:pt idx="1192">
                  <c:v>151.5220738360612</c:v>
                </c:pt>
                <c:pt idx="1193">
                  <c:v>149.82260601800718</c:v>
                </c:pt>
                <c:pt idx="1194">
                  <c:v>150.51377313652642</c:v>
                </c:pt>
                <c:pt idx="1195">
                  <c:v>150.54557017103457</c:v>
                </c:pt>
                <c:pt idx="1196">
                  <c:v>150.52757974361549</c:v>
                </c:pt>
                <c:pt idx="1197">
                  <c:v>151.73628543695818</c:v>
                </c:pt>
                <c:pt idx="1198">
                  <c:v>151.84799343976974</c:v>
                </c:pt>
                <c:pt idx="1199">
                  <c:v>153.00481976102017</c:v>
                </c:pt>
                <c:pt idx="1200">
                  <c:v>152.59898918900828</c:v>
                </c:pt>
                <c:pt idx="1201">
                  <c:v>151.44634668808783</c:v>
                </c:pt>
                <c:pt idx="1202">
                  <c:v>149.30297553301872</c:v>
                </c:pt>
                <c:pt idx="1203">
                  <c:v>148.98082136760721</c:v>
                </c:pt>
                <c:pt idx="1204">
                  <c:v>148.2231315058406</c:v>
                </c:pt>
                <c:pt idx="1205">
                  <c:v>148.23735649496271</c:v>
                </c:pt>
                <c:pt idx="1206">
                  <c:v>149.03019044750144</c:v>
                </c:pt>
                <c:pt idx="1207">
                  <c:v>149.0682632125046</c:v>
                </c:pt>
                <c:pt idx="1208">
                  <c:v>150.58740837433479</c:v>
                </c:pt>
                <c:pt idx="1209">
                  <c:v>149.28163804933564</c:v>
                </c:pt>
                <c:pt idx="1210">
                  <c:v>148.74192522676307</c:v>
                </c:pt>
                <c:pt idx="1211">
                  <c:v>148.24279546139169</c:v>
                </c:pt>
                <c:pt idx="1212">
                  <c:v>149.84687217592128</c:v>
                </c:pt>
                <c:pt idx="1213">
                  <c:v>149.91674197543261</c:v>
                </c:pt>
                <c:pt idx="1214">
                  <c:v>150.1836697124879</c:v>
                </c:pt>
                <c:pt idx="1215">
                  <c:v>149.51969742611374</c:v>
                </c:pt>
                <c:pt idx="1216">
                  <c:v>149.22641162097935</c:v>
                </c:pt>
                <c:pt idx="1217">
                  <c:v>149.96318238109586</c:v>
                </c:pt>
                <c:pt idx="1218">
                  <c:v>148.48922247882987</c:v>
                </c:pt>
                <c:pt idx="1219">
                  <c:v>146.85042005556116</c:v>
                </c:pt>
                <c:pt idx="1220">
                  <c:v>145.21580145262243</c:v>
                </c:pt>
                <c:pt idx="1221">
                  <c:v>145.19153529470833</c:v>
                </c:pt>
                <c:pt idx="1222">
                  <c:v>145.43879907621246</c:v>
                </c:pt>
                <c:pt idx="1223">
                  <c:v>144.06943468219703</c:v>
                </c:pt>
                <c:pt idx="1224">
                  <c:v>142.9034039562205</c:v>
                </c:pt>
                <c:pt idx="1225">
                  <c:v>142.58919904943605</c:v>
                </c:pt>
                <c:pt idx="1226">
                  <c:v>144.3183719918332</c:v>
                </c:pt>
                <c:pt idx="1227">
                  <c:v>144.11587508786025</c:v>
                </c:pt>
                <c:pt idx="1228">
                  <c:v>144.85766643237275</c:v>
                </c:pt>
                <c:pt idx="1229">
                  <c:v>145.67644007095763</c:v>
                </c:pt>
                <c:pt idx="1230">
                  <c:v>145.18358603608129</c:v>
                </c:pt>
                <c:pt idx="1231">
                  <c:v>146.58642099273692</c:v>
                </c:pt>
                <c:pt idx="1232">
                  <c:v>147.01317066639891</c:v>
                </c:pt>
                <c:pt idx="1233">
                  <c:v>146.88640091039932</c:v>
                </c:pt>
                <c:pt idx="1234">
                  <c:v>147.91729423971617</c:v>
                </c:pt>
                <c:pt idx="1235">
                  <c:v>147.60518124309669</c:v>
                </c:pt>
                <c:pt idx="1236">
                  <c:v>148.74610904709309</c:v>
                </c:pt>
                <c:pt idx="1237">
                  <c:v>150.12928004819761</c:v>
                </c:pt>
                <c:pt idx="1238">
                  <c:v>149.99707132576901</c:v>
                </c:pt>
                <c:pt idx="1239">
                  <c:v>149.73976637547278</c:v>
                </c:pt>
                <c:pt idx="1240">
                  <c:v>149.8493824681193</c:v>
                </c:pt>
                <c:pt idx="1241">
                  <c:v>150.00794925862704</c:v>
                </c:pt>
                <c:pt idx="1242">
                  <c:v>149.75608327475985</c:v>
                </c:pt>
                <c:pt idx="1243">
                  <c:v>150.02426615791413</c:v>
                </c:pt>
                <c:pt idx="1244">
                  <c:v>151.27397329049103</c:v>
                </c:pt>
                <c:pt idx="1245">
                  <c:v>150.39997322354989</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40119</c:v>
                </c:pt>
                <c:pt idx="1">
                  <c:v>40120</c:v>
                </c:pt>
                <c:pt idx="2">
                  <c:v>40121</c:v>
                </c:pt>
                <c:pt idx="3">
                  <c:v>40122</c:v>
                </c:pt>
                <c:pt idx="4">
                  <c:v>40123</c:v>
                </c:pt>
                <c:pt idx="5">
                  <c:v>40126</c:v>
                </c:pt>
                <c:pt idx="6">
                  <c:v>40127</c:v>
                </c:pt>
                <c:pt idx="7">
                  <c:v>40128</c:v>
                </c:pt>
                <c:pt idx="8">
                  <c:v>40129</c:v>
                </c:pt>
                <c:pt idx="9">
                  <c:v>40130</c:v>
                </c:pt>
                <c:pt idx="10">
                  <c:v>40133</c:v>
                </c:pt>
                <c:pt idx="11">
                  <c:v>40134</c:v>
                </c:pt>
                <c:pt idx="12">
                  <c:v>40135</c:v>
                </c:pt>
                <c:pt idx="13">
                  <c:v>40136</c:v>
                </c:pt>
                <c:pt idx="14">
                  <c:v>40137</c:v>
                </c:pt>
                <c:pt idx="15">
                  <c:v>40140</c:v>
                </c:pt>
                <c:pt idx="16">
                  <c:v>40141</c:v>
                </c:pt>
                <c:pt idx="17">
                  <c:v>40142</c:v>
                </c:pt>
                <c:pt idx="18">
                  <c:v>40143</c:v>
                </c:pt>
                <c:pt idx="19">
                  <c:v>40144</c:v>
                </c:pt>
                <c:pt idx="20">
                  <c:v>40147</c:v>
                </c:pt>
                <c:pt idx="21">
                  <c:v>40148</c:v>
                </c:pt>
                <c:pt idx="22">
                  <c:v>40149</c:v>
                </c:pt>
                <c:pt idx="23">
                  <c:v>40150</c:v>
                </c:pt>
                <c:pt idx="24">
                  <c:v>40151</c:v>
                </c:pt>
                <c:pt idx="25">
                  <c:v>40154</c:v>
                </c:pt>
                <c:pt idx="26">
                  <c:v>40155</c:v>
                </c:pt>
                <c:pt idx="27">
                  <c:v>40156</c:v>
                </c:pt>
                <c:pt idx="28">
                  <c:v>40157</c:v>
                </c:pt>
                <c:pt idx="29">
                  <c:v>40158</c:v>
                </c:pt>
                <c:pt idx="30">
                  <c:v>40161</c:v>
                </c:pt>
                <c:pt idx="31">
                  <c:v>40162</c:v>
                </c:pt>
                <c:pt idx="32">
                  <c:v>40163</c:v>
                </c:pt>
                <c:pt idx="33">
                  <c:v>40164</c:v>
                </c:pt>
                <c:pt idx="34">
                  <c:v>40165</c:v>
                </c:pt>
                <c:pt idx="35">
                  <c:v>40168</c:v>
                </c:pt>
                <c:pt idx="36">
                  <c:v>40169</c:v>
                </c:pt>
                <c:pt idx="37">
                  <c:v>40170</c:v>
                </c:pt>
                <c:pt idx="38">
                  <c:v>40171</c:v>
                </c:pt>
                <c:pt idx="39">
                  <c:v>40175</c:v>
                </c:pt>
                <c:pt idx="40">
                  <c:v>40176</c:v>
                </c:pt>
                <c:pt idx="41">
                  <c:v>40177</c:v>
                </c:pt>
                <c:pt idx="42">
                  <c:v>40178</c:v>
                </c:pt>
                <c:pt idx="43">
                  <c:v>40182</c:v>
                </c:pt>
                <c:pt idx="44">
                  <c:v>40183</c:v>
                </c:pt>
                <c:pt idx="45">
                  <c:v>40184</c:v>
                </c:pt>
                <c:pt idx="46">
                  <c:v>40185</c:v>
                </c:pt>
                <c:pt idx="47">
                  <c:v>40186</c:v>
                </c:pt>
                <c:pt idx="48">
                  <c:v>40189</c:v>
                </c:pt>
                <c:pt idx="49">
                  <c:v>40190</c:v>
                </c:pt>
                <c:pt idx="50">
                  <c:v>40191</c:v>
                </c:pt>
                <c:pt idx="51">
                  <c:v>40192</c:v>
                </c:pt>
                <c:pt idx="52">
                  <c:v>40193</c:v>
                </c:pt>
                <c:pt idx="53">
                  <c:v>40196</c:v>
                </c:pt>
                <c:pt idx="54">
                  <c:v>40197</c:v>
                </c:pt>
                <c:pt idx="55">
                  <c:v>40198</c:v>
                </c:pt>
                <c:pt idx="56">
                  <c:v>40199</c:v>
                </c:pt>
                <c:pt idx="57">
                  <c:v>40200</c:v>
                </c:pt>
                <c:pt idx="58">
                  <c:v>40203</c:v>
                </c:pt>
                <c:pt idx="59">
                  <c:v>40204</c:v>
                </c:pt>
                <c:pt idx="60">
                  <c:v>40205</c:v>
                </c:pt>
                <c:pt idx="61">
                  <c:v>40206</c:v>
                </c:pt>
                <c:pt idx="62">
                  <c:v>40207</c:v>
                </c:pt>
                <c:pt idx="63">
                  <c:v>40210</c:v>
                </c:pt>
                <c:pt idx="64">
                  <c:v>40211</c:v>
                </c:pt>
                <c:pt idx="65">
                  <c:v>40212</c:v>
                </c:pt>
                <c:pt idx="66">
                  <c:v>40213</c:v>
                </c:pt>
                <c:pt idx="67">
                  <c:v>40214</c:v>
                </c:pt>
                <c:pt idx="68">
                  <c:v>40217</c:v>
                </c:pt>
                <c:pt idx="69">
                  <c:v>40218</c:v>
                </c:pt>
                <c:pt idx="70">
                  <c:v>40219</c:v>
                </c:pt>
                <c:pt idx="71">
                  <c:v>40220</c:v>
                </c:pt>
                <c:pt idx="72">
                  <c:v>40221</c:v>
                </c:pt>
                <c:pt idx="73">
                  <c:v>40224</c:v>
                </c:pt>
                <c:pt idx="74">
                  <c:v>40225</c:v>
                </c:pt>
                <c:pt idx="75">
                  <c:v>40226</c:v>
                </c:pt>
                <c:pt idx="76">
                  <c:v>40227</c:v>
                </c:pt>
                <c:pt idx="77">
                  <c:v>40228</c:v>
                </c:pt>
                <c:pt idx="78">
                  <c:v>40231</c:v>
                </c:pt>
                <c:pt idx="79">
                  <c:v>40232</c:v>
                </c:pt>
                <c:pt idx="80">
                  <c:v>40233</c:v>
                </c:pt>
                <c:pt idx="81">
                  <c:v>40234</c:v>
                </c:pt>
                <c:pt idx="82">
                  <c:v>40235</c:v>
                </c:pt>
                <c:pt idx="83">
                  <c:v>40238</c:v>
                </c:pt>
                <c:pt idx="84">
                  <c:v>40239</c:v>
                </c:pt>
                <c:pt idx="85">
                  <c:v>40240</c:v>
                </c:pt>
                <c:pt idx="86">
                  <c:v>40241</c:v>
                </c:pt>
                <c:pt idx="87">
                  <c:v>40242</c:v>
                </c:pt>
                <c:pt idx="88">
                  <c:v>40245</c:v>
                </c:pt>
                <c:pt idx="89">
                  <c:v>40246</c:v>
                </c:pt>
                <c:pt idx="90">
                  <c:v>40247</c:v>
                </c:pt>
                <c:pt idx="91">
                  <c:v>40248</c:v>
                </c:pt>
                <c:pt idx="92">
                  <c:v>40249</c:v>
                </c:pt>
                <c:pt idx="93">
                  <c:v>40252</c:v>
                </c:pt>
                <c:pt idx="94">
                  <c:v>40253</c:v>
                </c:pt>
                <c:pt idx="95">
                  <c:v>40254</c:v>
                </c:pt>
                <c:pt idx="96">
                  <c:v>40255</c:v>
                </c:pt>
                <c:pt idx="97">
                  <c:v>40256</c:v>
                </c:pt>
                <c:pt idx="98">
                  <c:v>40259</c:v>
                </c:pt>
                <c:pt idx="99">
                  <c:v>40260</c:v>
                </c:pt>
                <c:pt idx="100">
                  <c:v>40261</c:v>
                </c:pt>
                <c:pt idx="101">
                  <c:v>40262</c:v>
                </c:pt>
                <c:pt idx="102">
                  <c:v>40263</c:v>
                </c:pt>
                <c:pt idx="103">
                  <c:v>40266</c:v>
                </c:pt>
                <c:pt idx="104">
                  <c:v>40267</c:v>
                </c:pt>
                <c:pt idx="105">
                  <c:v>40268</c:v>
                </c:pt>
                <c:pt idx="106">
                  <c:v>40269</c:v>
                </c:pt>
                <c:pt idx="107">
                  <c:v>40274</c:v>
                </c:pt>
                <c:pt idx="108">
                  <c:v>40275</c:v>
                </c:pt>
                <c:pt idx="109">
                  <c:v>40276</c:v>
                </c:pt>
                <c:pt idx="110">
                  <c:v>40277</c:v>
                </c:pt>
                <c:pt idx="111">
                  <c:v>40280</c:v>
                </c:pt>
                <c:pt idx="112">
                  <c:v>40281</c:v>
                </c:pt>
                <c:pt idx="113">
                  <c:v>40282</c:v>
                </c:pt>
                <c:pt idx="114">
                  <c:v>40283</c:v>
                </c:pt>
                <c:pt idx="115">
                  <c:v>40284</c:v>
                </c:pt>
                <c:pt idx="116">
                  <c:v>40287</c:v>
                </c:pt>
                <c:pt idx="117">
                  <c:v>40288</c:v>
                </c:pt>
                <c:pt idx="118">
                  <c:v>40289</c:v>
                </c:pt>
                <c:pt idx="119">
                  <c:v>40290</c:v>
                </c:pt>
                <c:pt idx="120">
                  <c:v>40291</c:v>
                </c:pt>
                <c:pt idx="121">
                  <c:v>40294</c:v>
                </c:pt>
                <c:pt idx="122">
                  <c:v>40295</c:v>
                </c:pt>
                <c:pt idx="123">
                  <c:v>40296</c:v>
                </c:pt>
                <c:pt idx="124">
                  <c:v>40297</c:v>
                </c:pt>
                <c:pt idx="125">
                  <c:v>40298</c:v>
                </c:pt>
                <c:pt idx="126">
                  <c:v>40301</c:v>
                </c:pt>
                <c:pt idx="127">
                  <c:v>40302</c:v>
                </c:pt>
                <c:pt idx="128">
                  <c:v>40303</c:v>
                </c:pt>
                <c:pt idx="129">
                  <c:v>40304</c:v>
                </c:pt>
                <c:pt idx="130">
                  <c:v>40305</c:v>
                </c:pt>
                <c:pt idx="131">
                  <c:v>40308</c:v>
                </c:pt>
                <c:pt idx="132">
                  <c:v>40309</c:v>
                </c:pt>
                <c:pt idx="133">
                  <c:v>40310</c:v>
                </c:pt>
                <c:pt idx="134">
                  <c:v>40311</c:v>
                </c:pt>
                <c:pt idx="135">
                  <c:v>40312</c:v>
                </c:pt>
                <c:pt idx="136">
                  <c:v>40315</c:v>
                </c:pt>
                <c:pt idx="137">
                  <c:v>40316</c:v>
                </c:pt>
                <c:pt idx="138">
                  <c:v>40317</c:v>
                </c:pt>
                <c:pt idx="139">
                  <c:v>40318</c:v>
                </c:pt>
                <c:pt idx="140">
                  <c:v>40319</c:v>
                </c:pt>
                <c:pt idx="141">
                  <c:v>40322</c:v>
                </c:pt>
                <c:pt idx="142">
                  <c:v>40323</c:v>
                </c:pt>
                <c:pt idx="143">
                  <c:v>40324</c:v>
                </c:pt>
                <c:pt idx="144">
                  <c:v>40325</c:v>
                </c:pt>
                <c:pt idx="145">
                  <c:v>40326</c:v>
                </c:pt>
                <c:pt idx="146">
                  <c:v>40329</c:v>
                </c:pt>
                <c:pt idx="147">
                  <c:v>40330</c:v>
                </c:pt>
                <c:pt idx="148">
                  <c:v>40331</c:v>
                </c:pt>
                <c:pt idx="149">
                  <c:v>40332</c:v>
                </c:pt>
                <c:pt idx="150">
                  <c:v>40333</c:v>
                </c:pt>
                <c:pt idx="151">
                  <c:v>40336</c:v>
                </c:pt>
                <c:pt idx="152">
                  <c:v>40337</c:v>
                </c:pt>
                <c:pt idx="153">
                  <c:v>40338</c:v>
                </c:pt>
                <c:pt idx="154">
                  <c:v>40339</c:v>
                </c:pt>
                <c:pt idx="155">
                  <c:v>40340</c:v>
                </c:pt>
                <c:pt idx="156">
                  <c:v>40343</c:v>
                </c:pt>
                <c:pt idx="157">
                  <c:v>40344</c:v>
                </c:pt>
                <c:pt idx="158">
                  <c:v>40345</c:v>
                </c:pt>
                <c:pt idx="159">
                  <c:v>40346</c:v>
                </c:pt>
                <c:pt idx="160">
                  <c:v>40347</c:v>
                </c:pt>
                <c:pt idx="161">
                  <c:v>40350</c:v>
                </c:pt>
                <c:pt idx="162">
                  <c:v>40351</c:v>
                </c:pt>
                <c:pt idx="163">
                  <c:v>40352</c:v>
                </c:pt>
                <c:pt idx="164">
                  <c:v>40353</c:v>
                </c:pt>
                <c:pt idx="165">
                  <c:v>40354</c:v>
                </c:pt>
                <c:pt idx="166">
                  <c:v>40357</c:v>
                </c:pt>
                <c:pt idx="167">
                  <c:v>40358</c:v>
                </c:pt>
                <c:pt idx="168">
                  <c:v>40359</c:v>
                </c:pt>
                <c:pt idx="169">
                  <c:v>40360</c:v>
                </c:pt>
                <c:pt idx="170">
                  <c:v>40361</c:v>
                </c:pt>
                <c:pt idx="171">
                  <c:v>40364</c:v>
                </c:pt>
                <c:pt idx="172">
                  <c:v>40365</c:v>
                </c:pt>
                <c:pt idx="173">
                  <c:v>40366</c:v>
                </c:pt>
                <c:pt idx="174">
                  <c:v>40367</c:v>
                </c:pt>
                <c:pt idx="175">
                  <c:v>40368</c:v>
                </c:pt>
                <c:pt idx="176">
                  <c:v>40371</c:v>
                </c:pt>
                <c:pt idx="177">
                  <c:v>40372</c:v>
                </c:pt>
                <c:pt idx="178">
                  <c:v>40373</c:v>
                </c:pt>
                <c:pt idx="179">
                  <c:v>40374</c:v>
                </c:pt>
                <c:pt idx="180">
                  <c:v>40375</c:v>
                </c:pt>
                <c:pt idx="181">
                  <c:v>40378</c:v>
                </c:pt>
                <c:pt idx="182">
                  <c:v>40379</c:v>
                </c:pt>
                <c:pt idx="183">
                  <c:v>40380</c:v>
                </c:pt>
                <c:pt idx="184">
                  <c:v>40381</c:v>
                </c:pt>
                <c:pt idx="185">
                  <c:v>40382</c:v>
                </c:pt>
                <c:pt idx="186">
                  <c:v>40385</c:v>
                </c:pt>
                <c:pt idx="187">
                  <c:v>40386</c:v>
                </c:pt>
                <c:pt idx="188">
                  <c:v>40387</c:v>
                </c:pt>
                <c:pt idx="189">
                  <c:v>40388</c:v>
                </c:pt>
                <c:pt idx="190">
                  <c:v>40389</c:v>
                </c:pt>
                <c:pt idx="191">
                  <c:v>40392</c:v>
                </c:pt>
                <c:pt idx="192">
                  <c:v>40393</c:v>
                </c:pt>
                <c:pt idx="193">
                  <c:v>40394</c:v>
                </c:pt>
                <c:pt idx="194">
                  <c:v>40395</c:v>
                </c:pt>
                <c:pt idx="195">
                  <c:v>40396</c:v>
                </c:pt>
                <c:pt idx="196">
                  <c:v>40399</c:v>
                </c:pt>
                <c:pt idx="197">
                  <c:v>40400</c:v>
                </c:pt>
                <c:pt idx="198">
                  <c:v>40401</c:v>
                </c:pt>
                <c:pt idx="199">
                  <c:v>40402</c:v>
                </c:pt>
                <c:pt idx="200">
                  <c:v>40403</c:v>
                </c:pt>
                <c:pt idx="201">
                  <c:v>40406</c:v>
                </c:pt>
                <c:pt idx="202">
                  <c:v>40407</c:v>
                </c:pt>
                <c:pt idx="203">
                  <c:v>40408</c:v>
                </c:pt>
                <c:pt idx="204">
                  <c:v>40409</c:v>
                </c:pt>
                <c:pt idx="205">
                  <c:v>40410</c:v>
                </c:pt>
                <c:pt idx="206">
                  <c:v>40413</c:v>
                </c:pt>
                <c:pt idx="207">
                  <c:v>40414</c:v>
                </c:pt>
                <c:pt idx="208">
                  <c:v>40415</c:v>
                </c:pt>
                <c:pt idx="209">
                  <c:v>40416</c:v>
                </c:pt>
                <c:pt idx="210">
                  <c:v>40417</c:v>
                </c:pt>
                <c:pt idx="211">
                  <c:v>40420</c:v>
                </c:pt>
                <c:pt idx="212">
                  <c:v>40421</c:v>
                </c:pt>
                <c:pt idx="213">
                  <c:v>40422</c:v>
                </c:pt>
                <c:pt idx="214">
                  <c:v>40423</c:v>
                </c:pt>
                <c:pt idx="215">
                  <c:v>40424</c:v>
                </c:pt>
                <c:pt idx="216">
                  <c:v>40427</c:v>
                </c:pt>
                <c:pt idx="217">
                  <c:v>40428</c:v>
                </c:pt>
                <c:pt idx="218">
                  <c:v>40429</c:v>
                </c:pt>
                <c:pt idx="219">
                  <c:v>40430</c:v>
                </c:pt>
                <c:pt idx="220">
                  <c:v>40431</c:v>
                </c:pt>
                <c:pt idx="221">
                  <c:v>40434</c:v>
                </c:pt>
                <c:pt idx="222">
                  <c:v>40435</c:v>
                </c:pt>
                <c:pt idx="223">
                  <c:v>40436</c:v>
                </c:pt>
                <c:pt idx="224">
                  <c:v>40437</c:v>
                </c:pt>
                <c:pt idx="225">
                  <c:v>40438</c:v>
                </c:pt>
                <c:pt idx="226">
                  <c:v>40441</c:v>
                </c:pt>
                <c:pt idx="227">
                  <c:v>40442</c:v>
                </c:pt>
                <c:pt idx="228">
                  <c:v>40443</c:v>
                </c:pt>
                <c:pt idx="229">
                  <c:v>40444</c:v>
                </c:pt>
                <c:pt idx="230">
                  <c:v>40445</c:v>
                </c:pt>
                <c:pt idx="231">
                  <c:v>40448</c:v>
                </c:pt>
                <c:pt idx="232">
                  <c:v>40449</c:v>
                </c:pt>
                <c:pt idx="233">
                  <c:v>40450</c:v>
                </c:pt>
                <c:pt idx="234">
                  <c:v>40451</c:v>
                </c:pt>
                <c:pt idx="235">
                  <c:v>40452</c:v>
                </c:pt>
                <c:pt idx="236">
                  <c:v>40455</c:v>
                </c:pt>
                <c:pt idx="237">
                  <c:v>40456</c:v>
                </c:pt>
                <c:pt idx="238">
                  <c:v>40457</c:v>
                </c:pt>
                <c:pt idx="239">
                  <c:v>40458</c:v>
                </c:pt>
                <c:pt idx="240">
                  <c:v>40459</c:v>
                </c:pt>
                <c:pt idx="241">
                  <c:v>40462</c:v>
                </c:pt>
                <c:pt idx="242">
                  <c:v>40463</c:v>
                </c:pt>
                <c:pt idx="243">
                  <c:v>40464</c:v>
                </c:pt>
                <c:pt idx="244">
                  <c:v>40465</c:v>
                </c:pt>
                <c:pt idx="245">
                  <c:v>40466</c:v>
                </c:pt>
                <c:pt idx="246">
                  <c:v>40469</c:v>
                </c:pt>
                <c:pt idx="247">
                  <c:v>40470</c:v>
                </c:pt>
                <c:pt idx="248">
                  <c:v>40471</c:v>
                </c:pt>
                <c:pt idx="249">
                  <c:v>40472</c:v>
                </c:pt>
                <c:pt idx="250">
                  <c:v>40473</c:v>
                </c:pt>
                <c:pt idx="251">
                  <c:v>40476</c:v>
                </c:pt>
                <c:pt idx="252">
                  <c:v>40477</c:v>
                </c:pt>
                <c:pt idx="253">
                  <c:v>40478</c:v>
                </c:pt>
                <c:pt idx="254">
                  <c:v>40479</c:v>
                </c:pt>
                <c:pt idx="255">
                  <c:v>40480</c:v>
                </c:pt>
                <c:pt idx="256">
                  <c:v>40483</c:v>
                </c:pt>
                <c:pt idx="257">
                  <c:v>40484</c:v>
                </c:pt>
                <c:pt idx="258">
                  <c:v>40485</c:v>
                </c:pt>
                <c:pt idx="259">
                  <c:v>40486</c:v>
                </c:pt>
                <c:pt idx="260">
                  <c:v>40487</c:v>
                </c:pt>
                <c:pt idx="261">
                  <c:v>40490</c:v>
                </c:pt>
                <c:pt idx="262">
                  <c:v>40491</c:v>
                </c:pt>
                <c:pt idx="263">
                  <c:v>40492</c:v>
                </c:pt>
                <c:pt idx="264">
                  <c:v>40493</c:v>
                </c:pt>
                <c:pt idx="265">
                  <c:v>40494</c:v>
                </c:pt>
                <c:pt idx="266">
                  <c:v>40497</c:v>
                </c:pt>
                <c:pt idx="267">
                  <c:v>40498</c:v>
                </c:pt>
                <c:pt idx="268">
                  <c:v>40499</c:v>
                </c:pt>
                <c:pt idx="269">
                  <c:v>40500</c:v>
                </c:pt>
                <c:pt idx="270">
                  <c:v>40501</c:v>
                </c:pt>
                <c:pt idx="271">
                  <c:v>40504</c:v>
                </c:pt>
                <c:pt idx="272">
                  <c:v>40505</c:v>
                </c:pt>
                <c:pt idx="273">
                  <c:v>40506</c:v>
                </c:pt>
                <c:pt idx="274">
                  <c:v>40507</c:v>
                </c:pt>
                <c:pt idx="275">
                  <c:v>40508</c:v>
                </c:pt>
                <c:pt idx="276">
                  <c:v>40511</c:v>
                </c:pt>
                <c:pt idx="277">
                  <c:v>40512</c:v>
                </c:pt>
                <c:pt idx="278">
                  <c:v>40513</c:v>
                </c:pt>
                <c:pt idx="279">
                  <c:v>40514</c:v>
                </c:pt>
                <c:pt idx="280">
                  <c:v>40515</c:v>
                </c:pt>
                <c:pt idx="281">
                  <c:v>40518</c:v>
                </c:pt>
                <c:pt idx="282">
                  <c:v>40519</c:v>
                </c:pt>
                <c:pt idx="283">
                  <c:v>40520</c:v>
                </c:pt>
                <c:pt idx="284">
                  <c:v>40521</c:v>
                </c:pt>
                <c:pt idx="285">
                  <c:v>40522</c:v>
                </c:pt>
                <c:pt idx="286">
                  <c:v>40525</c:v>
                </c:pt>
                <c:pt idx="287">
                  <c:v>40526</c:v>
                </c:pt>
                <c:pt idx="288">
                  <c:v>40527</c:v>
                </c:pt>
                <c:pt idx="289">
                  <c:v>40528</c:v>
                </c:pt>
                <c:pt idx="290">
                  <c:v>40529</c:v>
                </c:pt>
                <c:pt idx="291">
                  <c:v>40532</c:v>
                </c:pt>
                <c:pt idx="292">
                  <c:v>40533</c:v>
                </c:pt>
                <c:pt idx="293">
                  <c:v>40534</c:v>
                </c:pt>
                <c:pt idx="294">
                  <c:v>40535</c:v>
                </c:pt>
                <c:pt idx="295">
                  <c:v>40536</c:v>
                </c:pt>
                <c:pt idx="296">
                  <c:v>40539</c:v>
                </c:pt>
                <c:pt idx="297">
                  <c:v>40540</c:v>
                </c:pt>
                <c:pt idx="298">
                  <c:v>40541</c:v>
                </c:pt>
                <c:pt idx="299">
                  <c:v>40542</c:v>
                </c:pt>
                <c:pt idx="300">
                  <c:v>40543</c:v>
                </c:pt>
                <c:pt idx="301">
                  <c:v>40546</c:v>
                </c:pt>
                <c:pt idx="302">
                  <c:v>40547</c:v>
                </c:pt>
                <c:pt idx="303">
                  <c:v>40548</c:v>
                </c:pt>
                <c:pt idx="304">
                  <c:v>40549</c:v>
                </c:pt>
                <c:pt idx="305">
                  <c:v>40550</c:v>
                </c:pt>
                <c:pt idx="306">
                  <c:v>40553</c:v>
                </c:pt>
                <c:pt idx="307">
                  <c:v>40554</c:v>
                </c:pt>
                <c:pt idx="308">
                  <c:v>40555</c:v>
                </c:pt>
                <c:pt idx="309">
                  <c:v>40556</c:v>
                </c:pt>
                <c:pt idx="310">
                  <c:v>40557</c:v>
                </c:pt>
                <c:pt idx="311">
                  <c:v>40560</c:v>
                </c:pt>
                <c:pt idx="312">
                  <c:v>40561</c:v>
                </c:pt>
                <c:pt idx="313">
                  <c:v>40562</c:v>
                </c:pt>
                <c:pt idx="314">
                  <c:v>40563</c:v>
                </c:pt>
                <c:pt idx="315">
                  <c:v>40564</c:v>
                </c:pt>
                <c:pt idx="316">
                  <c:v>40567</c:v>
                </c:pt>
                <c:pt idx="317">
                  <c:v>40568</c:v>
                </c:pt>
                <c:pt idx="318">
                  <c:v>40569</c:v>
                </c:pt>
                <c:pt idx="319">
                  <c:v>40570</c:v>
                </c:pt>
                <c:pt idx="320">
                  <c:v>40571</c:v>
                </c:pt>
                <c:pt idx="321">
                  <c:v>40574</c:v>
                </c:pt>
                <c:pt idx="322">
                  <c:v>40575</c:v>
                </c:pt>
                <c:pt idx="323">
                  <c:v>40576</c:v>
                </c:pt>
                <c:pt idx="324">
                  <c:v>40577</c:v>
                </c:pt>
                <c:pt idx="325">
                  <c:v>40578</c:v>
                </c:pt>
                <c:pt idx="326">
                  <c:v>40581</c:v>
                </c:pt>
                <c:pt idx="327">
                  <c:v>40582</c:v>
                </c:pt>
                <c:pt idx="328">
                  <c:v>40583</c:v>
                </c:pt>
                <c:pt idx="329">
                  <c:v>40584</c:v>
                </c:pt>
                <c:pt idx="330">
                  <c:v>40585</c:v>
                </c:pt>
                <c:pt idx="331">
                  <c:v>40588</c:v>
                </c:pt>
                <c:pt idx="332">
                  <c:v>40589</c:v>
                </c:pt>
                <c:pt idx="333">
                  <c:v>40590</c:v>
                </c:pt>
                <c:pt idx="334">
                  <c:v>40591</c:v>
                </c:pt>
                <c:pt idx="335">
                  <c:v>40592</c:v>
                </c:pt>
                <c:pt idx="336">
                  <c:v>40595</c:v>
                </c:pt>
                <c:pt idx="337">
                  <c:v>40596</c:v>
                </c:pt>
                <c:pt idx="338">
                  <c:v>40597</c:v>
                </c:pt>
                <c:pt idx="339">
                  <c:v>40598</c:v>
                </c:pt>
                <c:pt idx="340">
                  <c:v>40599</c:v>
                </c:pt>
                <c:pt idx="341">
                  <c:v>40602</c:v>
                </c:pt>
                <c:pt idx="342">
                  <c:v>40603</c:v>
                </c:pt>
                <c:pt idx="343">
                  <c:v>40604</c:v>
                </c:pt>
                <c:pt idx="344">
                  <c:v>40605</c:v>
                </c:pt>
                <c:pt idx="345">
                  <c:v>40606</c:v>
                </c:pt>
                <c:pt idx="346">
                  <c:v>40609</c:v>
                </c:pt>
                <c:pt idx="347">
                  <c:v>40610</c:v>
                </c:pt>
                <c:pt idx="348">
                  <c:v>40611</c:v>
                </c:pt>
                <c:pt idx="349">
                  <c:v>40612</c:v>
                </c:pt>
                <c:pt idx="350">
                  <c:v>40613</c:v>
                </c:pt>
                <c:pt idx="351">
                  <c:v>40616</c:v>
                </c:pt>
                <c:pt idx="352">
                  <c:v>40617</c:v>
                </c:pt>
                <c:pt idx="353">
                  <c:v>40618</c:v>
                </c:pt>
                <c:pt idx="354">
                  <c:v>40619</c:v>
                </c:pt>
                <c:pt idx="355">
                  <c:v>40620</c:v>
                </c:pt>
                <c:pt idx="356">
                  <c:v>40623</c:v>
                </c:pt>
                <c:pt idx="357">
                  <c:v>40624</c:v>
                </c:pt>
                <c:pt idx="358">
                  <c:v>40625</c:v>
                </c:pt>
                <c:pt idx="359">
                  <c:v>40626</c:v>
                </c:pt>
                <c:pt idx="360">
                  <c:v>40627</c:v>
                </c:pt>
                <c:pt idx="361">
                  <c:v>40630</c:v>
                </c:pt>
                <c:pt idx="362">
                  <c:v>40631</c:v>
                </c:pt>
                <c:pt idx="363">
                  <c:v>40632</c:v>
                </c:pt>
                <c:pt idx="364">
                  <c:v>40633</c:v>
                </c:pt>
                <c:pt idx="365">
                  <c:v>40634</c:v>
                </c:pt>
                <c:pt idx="366">
                  <c:v>40637</c:v>
                </c:pt>
                <c:pt idx="367">
                  <c:v>40638</c:v>
                </c:pt>
                <c:pt idx="368">
                  <c:v>40639</c:v>
                </c:pt>
                <c:pt idx="369">
                  <c:v>40640</c:v>
                </c:pt>
                <c:pt idx="370">
                  <c:v>40641</c:v>
                </c:pt>
                <c:pt idx="371">
                  <c:v>40644</c:v>
                </c:pt>
                <c:pt idx="372">
                  <c:v>40645</c:v>
                </c:pt>
                <c:pt idx="373">
                  <c:v>40646</c:v>
                </c:pt>
                <c:pt idx="374">
                  <c:v>40647</c:v>
                </c:pt>
                <c:pt idx="375">
                  <c:v>40648</c:v>
                </c:pt>
                <c:pt idx="376">
                  <c:v>40651</c:v>
                </c:pt>
                <c:pt idx="377">
                  <c:v>40652</c:v>
                </c:pt>
                <c:pt idx="378">
                  <c:v>40653</c:v>
                </c:pt>
                <c:pt idx="379">
                  <c:v>40654</c:v>
                </c:pt>
                <c:pt idx="380">
                  <c:v>40659</c:v>
                </c:pt>
                <c:pt idx="381">
                  <c:v>40660</c:v>
                </c:pt>
                <c:pt idx="382">
                  <c:v>40661</c:v>
                </c:pt>
                <c:pt idx="383">
                  <c:v>40662</c:v>
                </c:pt>
                <c:pt idx="384">
                  <c:v>40665</c:v>
                </c:pt>
                <c:pt idx="385">
                  <c:v>40666</c:v>
                </c:pt>
                <c:pt idx="386">
                  <c:v>40667</c:v>
                </c:pt>
                <c:pt idx="387">
                  <c:v>40668</c:v>
                </c:pt>
                <c:pt idx="388">
                  <c:v>40669</c:v>
                </c:pt>
                <c:pt idx="389">
                  <c:v>40672</c:v>
                </c:pt>
                <c:pt idx="390">
                  <c:v>40673</c:v>
                </c:pt>
                <c:pt idx="391">
                  <c:v>40674</c:v>
                </c:pt>
                <c:pt idx="392">
                  <c:v>40675</c:v>
                </c:pt>
                <c:pt idx="393">
                  <c:v>40676</c:v>
                </c:pt>
                <c:pt idx="394">
                  <c:v>40679</c:v>
                </c:pt>
                <c:pt idx="395">
                  <c:v>40680</c:v>
                </c:pt>
                <c:pt idx="396">
                  <c:v>40681</c:v>
                </c:pt>
                <c:pt idx="397">
                  <c:v>40682</c:v>
                </c:pt>
                <c:pt idx="398">
                  <c:v>40683</c:v>
                </c:pt>
                <c:pt idx="399">
                  <c:v>40686</c:v>
                </c:pt>
                <c:pt idx="400">
                  <c:v>40687</c:v>
                </c:pt>
                <c:pt idx="401">
                  <c:v>40688</c:v>
                </c:pt>
                <c:pt idx="402">
                  <c:v>40689</c:v>
                </c:pt>
                <c:pt idx="403">
                  <c:v>40690</c:v>
                </c:pt>
                <c:pt idx="404">
                  <c:v>40693</c:v>
                </c:pt>
                <c:pt idx="405">
                  <c:v>40694</c:v>
                </c:pt>
                <c:pt idx="406">
                  <c:v>40695</c:v>
                </c:pt>
                <c:pt idx="407">
                  <c:v>40696</c:v>
                </c:pt>
                <c:pt idx="408">
                  <c:v>40697</c:v>
                </c:pt>
                <c:pt idx="409">
                  <c:v>40700</c:v>
                </c:pt>
                <c:pt idx="410">
                  <c:v>40701</c:v>
                </c:pt>
                <c:pt idx="411">
                  <c:v>40702</c:v>
                </c:pt>
                <c:pt idx="412">
                  <c:v>40703</c:v>
                </c:pt>
                <c:pt idx="413">
                  <c:v>40704</c:v>
                </c:pt>
                <c:pt idx="414">
                  <c:v>40707</c:v>
                </c:pt>
                <c:pt idx="415">
                  <c:v>40708</c:v>
                </c:pt>
                <c:pt idx="416">
                  <c:v>40709</c:v>
                </c:pt>
                <c:pt idx="417">
                  <c:v>40710</c:v>
                </c:pt>
                <c:pt idx="418">
                  <c:v>40711</c:v>
                </c:pt>
                <c:pt idx="419">
                  <c:v>40714</c:v>
                </c:pt>
                <c:pt idx="420">
                  <c:v>40715</c:v>
                </c:pt>
                <c:pt idx="421">
                  <c:v>40716</c:v>
                </c:pt>
                <c:pt idx="422">
                  <c:v>40717</c:v>
                </c:pt>
                <c:pt idx="423">
                  <c:v>40718</c:v>
                </c:pt>
                <c:pt idx="424">
                  <c:v>40721</c:v>
                </c:pt>
                <c:pt idx="425">
                  <c:v>40722</c:v>
                </c:pt>
                <c:pt idx="426">
                  <c:v>40723</c:v>
                </c:pt>
                <c:pt idx="427">
                  <c:v>40724</c:v>
                </c:pt>
                <c:pt idx="428">
                  <c:v>40725</c:v>
                </c:pt>
                <c:pt idx="429">
                  <c:v>40728</c:v>
                </c:pt>
                <c:pt idx="430">
                  <c:v>40729</c:v>
                </c:pt>
                <c:pt idx="431">
                  <c:v>40730</c:v>
                </c:pt>
                <c:pt idx="432">
                  <c:v>40731</c:v>
                </c:pt>
                <c:pt idx="433">
                  <c:v>40732</c:v>
                </c:pt>
                <c:pt idx="434">
                  <c:v>40735</c:v>
                </c:pt>
                <c:pt idx="435">
                  <c:v>40736</c:v>
                </c:pt>
                <c:pt idx="436">
                  <c:v>40737</c:v>
                </c:pt>
                <c:pt idx="437">
                  <c:v>40738</c:v>
                </c:pt>
                <c:pt idx="438">
                  <c:v>40739</c:v>
                </c:pt>
                <c:pt idx="439">
                  <c:v>40742</c:v>
                </c:pt>
                <c:pt idx="440">
                  <c:v>40743</c:v>
                </c:pt>
                <c:pt idx="441">
                  <c:v>40744</c:v>
                </c:pt>
                <c:pt idx="442">
                  <c:v>40745</c:v>
                </c:pt>
                <c:pt idx="443">
                  <c:v>40746</c:v>
                </c:pt>
                <c:pt idx="444">
                  <c:v>40749</c:v>
                </c:pt>
                <c:pt idx="445">
                  <c:v>40750</c:v>
                </c:pt>
                <c:pt idx="446">
                  <c:v>40751</c:v>
                </c:pt>
                <c:pt idx="447">
                  <c:v>40752</c:v>
                </c:pt>
                <c:pt idx="448">
                  <c:v>40753</c:v>
                </c:pt>
                <c:pt idx="449">
                  <c:v>40756</c:v>
                </c:pt>
                <c:pt idx="450">
                  <c:v>40757</c:v>
                </c:pt>
                <c:pt idx="451">
                  <c:v>40758</c:v>
                </c:pt>
                <c:pt idx="452">
                  <c:v>40759</c:v>
                </c:pt>
                <c:pt idx="453">
                  <c:v>40760</c:v>
                </c:pt>
                <c:pt idx="454">
                  <c:v>40763</c:v>
                </c:pt>
                <c:pt idx="455">
                  <c:v>40764</c:v>
                </c:pt>
                <c:pt idx="456">
                  <c:v>40765</c:v>
                </c:pt>
                <c:pt idx="457">
                  <c:v>40766</c:v>
                </c:pt>
                <c:pt idx="458">
                  <c:v>40767</c:v>
                </c:pt>
                <c:pt idx="459">
                  <c:v>40770</c:v>
                </c:pt>
                <c:pt idx="460">
                  <c:v>40771</c:v>
                </c:pt>
                <c:pt idx="461">
                  <c:v>40772</c:v>
                </c:pt>
                <c:pt idx="462">
                  <c:v>40773</c:v>
                </c:pt>
                <c:pt idx="463">
                  <c:v>40774</c:v>
                </c:pt>
                <c:pt idx="464">
                  <c:v>40777</c:v>
                </c:pt>
                <c:pt idx="465">
                  <c:v>40778</c:v>
                </c:pt>
                <c:pt idx="466">
                  <c:v>40779</c:v>
                </c:pt>
                <c:pt idx="467">
                  <c:v>40780</c:v>
                </c:pt>
                <c:pt idx="468">
                  <c:v>40781</c:v>
                </c:pt>
                <c:pt idx="469">
                  <c:v>40784</c:v>
                </c:pt>
                <c:pt idx="470">
                  <c:v>40785</c:v>
                </c:pt>
                <c:pt idx="471">
                  <c:v>40786</c:v>
                </c:pt>
                <c:pt idx="472">
                  <c:v>40787</c:v>
                </c:pt>
                <c:pt idx="473">
                  <c:v>40788</c:v>
                </c:pt>
                <c:pt idx="474">
                  <c:v>40791</c:v>
                </c:pt>
                <c:pt idx="475">
                  <c:v>40792</c:v>
                </c:pt>
                <c:pt idx="476">
                  <c:v>40793</c:v>
                </c:pt>
                <c:pt idx="477">
                  <c:v>40794</c:v>
                </c:pt>
                <c:pt idx="478">
                  <c:v>40795</c:v>
                </c:pt>
                <c:pt idx="479">
                  <c:v>40798</c:v>
                </c:pt>
                <c:pt idx="480">
                  <c:v>40799</c:v>
                </c:pt>
                <c:pt idx="481">
                  <c:v>40800</c:v>
                </c:pt>
                <c:pt idx="482">
                  <c:v>40801</c:v>
                </c:pt>
                <c:pt idx="483">
                  <c:v>40802</c:v>
                </c:pt>
                <c:pt idx="484">
                  <c:v>40805</c:v>
                </c:pt>
                <c:pt idx="485">
                  <c:v>40806</c:v>
                </c:pt>
                <c:pt idx="486">
                  <c:v>40807</c:v>
                </c:pt>
                <c:pt idx="487">
                  <c:v>40808</c:v>
                </c:pt>
                <c:pt idx="488">
                  <c:v>40809</c:v>
                </c:pt>
                <c:pt idx="489">
                  <c:v>40812</c:v>
                </c:pt>
                <c:pt idx="490">
                  <c:v>40813</c:v>
                </c:pt>
                <c:pt idx="491">
                  <c:v>40814</c:v>
                </c:pt>
                <c:pt idx="492">
                  <c:v>40815</c:v>
                </c:pt>
                <c:pt idx="493">
                  <c:v>40816</c:v>
                </c:pt>
                <c:pt idx="494">
                  <c:v>40819</c:v>
                </c:pt>
                <c:pt idx="495">
                  <c:v>40820</c:v>
                </c:pt>
                <c:pt idx="496">
                  <c:v>40821</c:v>
                </c:pt>
                <c:pt idx="497">
                  <c:v>40822</c:v>
                </c:pt>
                <c:pt idx="498">
                  <c:v>40823</c:v>
                </c:pt>
                <c:pt idx="499">
                  <c:v>40826</c:v>
                </c:pt>
                <c:pt idx="500">
                  <c:v>40827</c:v>
                </c:pt>
                <c:pt idx="501">
                  <c:v>40828</c:v>
                </c:pt>
                <c:pt idx="502">
                  <c:v>40829</c:v>
                </c:pt>
                <c:pt idx="503">
                  <c:v>40830</c:v>
                </c:pt>
                <c:pt idx="504">
                  <c:v>40833</c:v>
                </c:pt>
                <c:pt idx="505">
                  <c:v>40834</c:v>
                </c:pt>
                <c:pt idx="506">
                  <c:v>40835</c:v>
                </c:pt>
                <c:pt idx="507">
                  <c:v>40836</c:v>
                </c:pt>
                <c:pt idx="508">
                  <c:v>40837</c:v>
                </c:pt>
                <c:pt idx="509">
                  <c:v>40840</c:v>
                </c:pt>
                <c:pt idx="510">
                  <c:v>40841</c:v>
                </c:pt>
                <c:pt idx="511">
                  <c:v>40842</c:v>
                </c:pt>
                <c:pt idx="512">
                  <c:v>40843</c:v>
                </c:pt>
                <c:pt idx="513">
                  <c:v>40844</c:v>
                </c:pt>
                <c:pt idx="514">
                  <c:v>40847</c:v>
                </c:pt>
                <c:pt idx="515">
                  <c:v>40848</c:v>
                </c:pt>
                <c:pt idx="516">
                  <c:v>40849</c:v>
                </c:pt>
                <c:pt idx="517">
                  <c:v>40850</c:v>
                </c:pt>
                <c:pt idx="518">
                  <c:v>40851</c:v>
                </c:pt>
                <c:pt idx="519">
                  <c:v>40854</c:v>
                </c:pt>
                <c:pt idx="520">
                  <c:v>40855</c:v>
                </c:pt>
                <c:pt idx="521">
                  <c:v>40856</c:v>
                </c:pt>
                <c:pt idx="522">
                  <c:v>40857</c:v>
                </c:pt>
                <c:pt idx="523">
                  <c:v>40858</c:v>
                </c:pt>
                <c:pt idx="524">
                  <c:v>40861</c:v>
                </c:pt>
                <c:pt idx="525">
                  <c:v>40862</c:v>
                </c:pt>
                <c:pt idx="526">
                  <c:v>40863</c:v>
                </c:pt>
                <c:pt idx="527">
                  <c:v>40864</c:v>
                </c:pt>
                <c:pt idx="528">
                  <c:v>40865</c:v>
                </c:pt>
                <c:pt idx="529">
                  <c:v>40868</c:v>
                </c:pt>
                <c:pt idx="530">
                  <c:v>40869</c:v>
                </c:pt>
                <c:pt idx="531">
                  <c:v>40870</c:v>
                </c:pt>
                <c:pt idx="532">
                  <c:v>40871</c:v>
                </c:pt>
                <c:pt idx="533">
                  <c:v>40872</c:v>
                </c:pt>
                <c:pt idx="534">
                  <c:v>40875</c:v>
                </c:pt>
                <c:pt idx="535">
                  <c:v>40876</c:v>
                </c:pt>
                <c:pt idx="536">
                  <c:v>40877</c:v>
                </c:pt>
                <c:pt idx="537">
                  <c:v>40878</c:v>
                </c:pt>
                <c:pt idx="538">
                  <c:v>40879</c:v>
                </c:pt>
                <c:pt idx="539">
                  <c:v>40882</c:v>
                </c:pt>
                <c:pt idx="540">
                  <c:v>40883</c:v>
                </c:pt>
                <c:pt idx="541">
                  <c:v>40884</c:v>
                </c:pt>
                <c:pt idx="542">
                  <c:v>40885</c:v>
                </c:pt>
                <c:pt idx="543">
                  <c:v>40886</c:v>
                </c:pt>
                <c:pt idx="544">
                  <c:v>40889</c:v>
                </c:pt>
                <c:pt idx="545">
                  <c:v>40890</c:v>
                </c:pt>
                <c:pt idx="546">
                  <c:v>40891</c:v>
                </c:pt>
                <c:pt idx="547">
                  <c:v>40892</c:v>
                </c:pt>
                <c:pt idx="548">
                  <c:v>40893</c:v>
                </c:pt>
                <c:pt idx="549">
                  <c:v>40896</c:v>
                </c:pt>
                <c:pt idx="550">
                  <c:v>40897</c:v>
                </c:pt>
                <c:pt idx="551">
                  <c:v>40898</c:v>
                </c:pt>
                <c:pt idx="552">
                  <c:v>40899</c:v>
                </c:pt>
                <c:pt idx="553">
                  <c:v>40900</c:v>
                </c:pt>
                <c:pt idx="554">
                  <c:v>40904</c:v>
                </c:pt>
                <c:pt idx="555">
                  <c:v>40905</c:v>
                </c:pt>
                <c:pt idx="556">
                  <c:v>40906</c:v>
                </c:pt>
                <c:pt idx="557">
                  <c:v>40907</c:v>
                </c:pt>
                <c:pt idx="558">
                  <c:v>40910</c:v>
                </c:pt>
                <c:pt idx="559">
                  <c:v>40911</c:v>
                </c:pt>
                <c:pt idx="560">
                  <c:v>40912</c:v>
                </c:pt>
                <c:pt idx="561">
                  <c:v>40913</c:v>
                </c:pt>
                <c:pt idx="562">
                  <c:v>40914</c:v>
                </c:pt>
                <c:pt idx="563">
                  <c:v>40917</c:v>
                </c:pt>
                <c:pt idx="564">
                  <c:v>40918</c:v>
                </c:pt>
                <c:pt idx="565">
                  <c:v>40919</c:v>
                </c:pt>
                <c:pt idx="566">
                  <c:v>40920</c:v>
                </c:pt>
                <c:pt idx="567">
                  <c:v>40921</c:v>
                </c:pt>
                <c:pt idx="568">
                  <c:v>40924</c:v>
                </c:pt>
                <c:pt idx="569">
                  <c:v>40925</c:v>
                </c:pt>
                <c:pt idx="570">
                  <c:v>40926</c:v>
                </c:pt>
                <c:pt idx="571">
                  <c:v>40927</c:v>
                </c:pt>
                <c:pt idx="572">
                  <c:v>40928</c:v>
                </c:pt>
                <c:pt idx="573">
                  <c:v>40931</c:v>
                </c:pt>
                <c:pt idx="574">
                  <c:v>40932</c:v>
                </c:pt>
                <c:pt idx="575">
                  <c:v>40933</c:v>
                </c:pt>
                <c:pt idx="576">
                  <c:v>40934</c:v>
                </c:pt>
                <c:pt idx="577">
                  <c:v>40935</c:v>
                </c:pt>
                <c:pt idx="578">
                  <c:v>40938</c:v>
                </c:pt>
                <c:pt idx="579">
                  <c:v>40939</c:v>
                </c:pt>
                <c:pt idx="580">
                  <c:v>40940</c:v>
                </c:pt>
                <c:pt idx="581">
                  <c:v>40941</c:v>
                </c:pt>
                <c:pt idx="582">
                  <c:v>40942</c:v>
                </c:pt>
                <c:pt idx="583">
                  <c:v>40945</c:v>
                </c:pt>
                <c:pt idx="584">
                  <c:v>40946</c:v>
                </c:pt>
                <c:pt idx="585">
                  <c:v>40947</c:v>
                </c:pt>
                <c:pt idx="586">
                  <c:v>40948</c:v>
                </c:pt>
                <c:pt idx="587">
                  <c:v>40949</c:v>
                </c:pt>
                <c:pt idx="588">
                  <c:v>40952</c:v>
                </c:pt>
                <c:pt idx="589">
                  <c:v>40953</c:v>
                </c:pt>
                <c:pt idx="590">
                  <c:v>40954</c:v>
                </c:pt>
                <c:pt idx="591">
                  <c:v>40955</c:v>
                </c:pt>
                <c:pt idx="592">
                  <c:v>40956</c:v>
                </c:pt>
                <c:pt idx="593">
                  <c:v>40959</c:v>
                </c:pt>
                <c:pt idx="594">
                  <c:v>40960</c:v>
                </c:pt>
                <c:pt idx="595">
                  <c:v>40961</c:v>
                </c:pt>
                <c:pt idx="596">
                  <c:v>40962</c:v>
                </c:pt>
                <c:pt idx="597">
                  <c:v>40963</c:v>
                </c:pt>
                <c:pt idx="598">
                  <c:v>40966</c:v>
                </c:pt>
                <c:pt idx="599">
                  <c:v>40967</c:v>
                </c:pt>
                <c:pt idx="600">
                  <c:v>40968</c:v>
                </c:pt>
                <c:pt idx="601">
                  <c:v>40969</c:v>
                </c:pt>
                <c:pt idx="602">
                  <c:v>40970</c:v>
                </c:pt>
                <c:pt idx="603">
                  <c:v>40973</c:v>
                </c:pt>
                <c:pt idx="604">
                  <c:v>40974</c:v>
                </c:pt>
                <c:pt idx="605">
                  <c:v>40975</c:v>
                </c:pt>
                <c:pt idx="606">
                  <c:v>40976</c:v>
                </c:pt>
                <c:pt idx="607">
                  <c:v>40977</c:v>
                </c:pt>
                <c:pt idx="608">
                  <c:v>40980</c:v>
                </c:pt>
                <c:pt idx="609">
                  <c:v>40981</c:v>
                </c:pt>
                <c:pt idx="610">
                  <c:v>40982</c:v>
                </c:pt>
                <c:pt idx="611">
                  <c:v>40983</c:v>
                </c:pt>
                <c:pt idx="612">
                  <c:v>40984</c:v>
                </c:pt>
                <c:pt idx="613">
                  <c:v>40987</c:v>
                </c:pt>
                <c:pt idx="614">
                  <c:v>40988</c:v>
                </c:pt>
                <c:pt idx="615">
                  <c:v>40989</c:v>
                </c:pt>
                <c:pt idx="616">
                  <c:v>40990</c:v>
                </c:pt>
                <c:pt idx="617">
                  <c:v>40991</c:v>
                </c:pt>
                <c:pt idx="618">
                  <c:v>40994</c:v>
                </c:pt>
                <c:pt idx="619">
                  <c:v>40995</c:v>
                </c:pt>
                <c:pt idx="620">
                  <c:v>40996</c:v>
                </c:pt>
                <c:pt idx="621">
                  <c:v>40997</c:v>
                </c:pt>
                <c:pt idx="622">
                  <c:v>40998</c:v>
                </c:pt>
                <c:pt idx="623">
                  <c:v>41001</c:v>
                </c:pt>
                <c:pt idx="624">
                  <c:v>41002</c:v>
                </c:pt>
                <c:pt idx="625">
                  <c:v>41003</c:v>
                </c:pt>
                <c:pt idx="626">
                  <c:v>41004</c:v>
                </c:pt>
                <c:pt idx="627">
                  <c:v>41009</c:v>
                </c:pt>
                <c:pt idx="628">
                  <c:v>41010</c:v>
                </c:pt>
                <c:pt idx="629">
                  <c:v>41011</c:v>
                </c:pt>
                <c:pt idx="630">
                  <c:v>41012</c:v>
                </c:pt>
                <c:pt idx="631">
                  <c:v>41015</c:v>
                </c:pt>
                <c:pt idx="632">
                  <c:v>41016</c:v>
                </c:pt>
                <c:pt idx="633">
                  <c:v>41017</c:v>
                </c:pt>
                <c:pt idx="634">
                  <c:v>41018</c:v>
                </c:pt>
                <c:pt idx="635">
                  <c:v>41019</c:v>
                </c:pt>
                <c:pt idx="636">
                  <c:v>41022</c:v>
                </c:pt>
                <c:pt idx="637">
                  <c:v>41023</c:v>
                </c:pt>
                <c:pt idx="638">
                  <c:v>41024</c:v>
                </c:pt>
                <c:pt idx="639">
                  <c:v>41025</c:v>
                </c:pt>
                <c:pt idx="640">
                  <c:v>41026</c:v>
                </c:pt>
                <c:pt idx="641">
                  <c:v>41029</c:v>
                </c:pt>
                <c:pt idx="642">
                  <c:v>41030</c:v>
                </c:pt>
                <c:pt idx="643">
                  <c:v>41031</c:v>
                </c:pt>
                <c:pt idx="644">
                  <c:v>41032</c:v>
                </c:pt>
                <c:pt idx="645">
                  <c:v>41033</c:v>
                </c:pt>
                <c:pt idx="646">
                  <c:v>41036</c:v>
                </c:pt>
                <c:pt idx="647">
                  <c:v>41037</c:v>
                </c:pt>
                <c:pt idx="648">
                  <c:v>41038</c:v>
                </c:pt>
                <c:pt idx="649">
                  <c:v>41039</c:v>
                </c:pt>
                <c:pt idx="650">
                  <c:v>41040</c:v>
                </c:pt>
                <c:pt idx="651">
                  <c:v>41043</c:v>
                </c:pt>
                <c:pt idx="652">
                  <c:v>41044</c:v>
                </c:pt>
                <c:pt idx="653">
                  <c:v>41045</c:v>
                </c:pt>
                <c:pt idx="654">
                  <c:v>41046</c:v>
                </c:pt>
                <c:pt idx="655">
                  <c:v>41047</c:v>
                </c:pt>
                <c:pt idx="656">
                  <c:v>41050</c:v>
                </c:pt>
                <c:pt idx="657">
                  <c:v>41051</c:v>
                </c:pt>
                <c:pt idx="658">
                  <c:v>41052</c:v>
                </c:pt>
                <c:pt idx="659">
                  <c:v>41053</c:v>
                </c:pt>
                <c:pt idx="660">
                  <c:v>41054</c:v>
                </c:pt>
                <c:pt idx="661">
                  <c:v>41057</c:v>
                </c:pt>
                <c:pt idx="662">
                  <c:v>41058</c:v>
                </c:pt>
                <c:pt idx="663">
                  <c:v>41059</c:v>
                </c:pt>
                <c:pt idx="664">
                  <c:v>41060</c:v>
                </c:pt>
                <c:pt idx="665">
                  <c:v>41061</c:v>
                </c:pt>
                <c:pt idx="666">
                  <c:v>41064</c:v>
                </c:pt>
                <c:pt idx="667">
                  <c:v>41065</c:v>
                </c:pt>
                <c:pt idx="668">
                  <c:v>41066</c:v>
                </c:pt>
                <c:pt idx="669">
                  <c:v>41067</c:v>
                </c:pt>
                <c:pt idx="670">
                  <c:v>41068</c:v>
                </c:pt>
                <c:pt idx="671">
                  <c:v>41071</c:v>
                </c:pt>
                <c:pt idx="672">
                  <c:v>41072</c:v>
                </c:pt>
                <c:pt idx="673">
                  <c:v>41073</c:v>
                </c:pt>
                <c:pt idx="674">
                  <c:v>41074</c:v>
                </c:pt>
                <c:pt idx="675">
                  <c:v>41075</c:v>
                </c:pt>
                <c:pt idx="676">
                  <c:v>41078</c:v>
                </c:pt>
                <c:pt idx="677">
                  <c:v>41079</c:v>
                </c:pt>
                <c:pt idx="678">
                  <c:v>41080</c:v>
                </c:pt>
                <c:pt idx="679">
                  <c:v>41081</c:v>
                </c:pt>
                <c:pt idx="680">
                  <c:v>41082</c:v>
                </c:pt>
                <c:pt idx="681">
                  <c:v>41085</c:v>
                </c:pt>
                <c:pt idx="682">
                  <c:v>41086</c:v>
                </c:pt>
                <c:pt idx="683">
                  <c:v>41087</c:v>
                </c:pt>
                <c:pt idx="684">
                  <c:v>41088</c:v>
                </c:pt>
                <c:pt idx="685">
                  <c:v>41089</c:v>
                </c:pt>
                <c:pt idx="686">
                  <c:v>41092</c:v>
                </c:pt>
                <c:pt idx="687">
                  <c:v>41093</c:v>
                </c:pt>
                <c:pt idx="688">
                  <c:v>41094</c:v>
                </c:pt>
                <c:pt idx="689">
                  <c:v>41095</c:v>
                </c:pt>
                <c:pt idx="690">
                  <c:v>41096</c:v>
                </c:pt>
                <c:pt idx="691">
                  <c:v>41099</c:v>
                </c:pt>
                <c:pt idx="692">
                  <c:v>41100</c:v>
                </c:pt>
                <c:pt idx="693">
                  <c:v>41101</c:v>
                </c:pt>
                <c:pt idx="694">
                  <c:v>41102</c:v>
                </c:pt>
                <c:pt idx="695">
                  <c:v>41103</c:v>
                </c:pt>
                <c:pt idx="696">
                  <c:v>41106</c:v>
                </c:pt>
                <c:pt idx="697">
                  <c:v>41107</c:v>
                </c:pt>
                <c:pt idx="698">
                  <c:v>41108</c:v>
                </c:pt>
                <c:pt idx="699">
                  <c:v>41109</c:v>
                </c:pt>
                <c:pt idx="700">
                  <c:v>41110</c:v>
                </c:pt>
                <c:pt idx="701">
                  <c:v>41113</c:v>
                </c:pt>
                <c:pt idx="702">
                  <c:v>41114</c:v>
                </c:pt>
                <c:pt idx="703">
                  <c:v>41115</c:v>
                </c:pt>
                <c:pt idx="704">
                  <c:v>41116</c:v>
                </c:pt>
                <c:pt idx="705">
                  <c:v>41117</c:v>
                </c:pt>
                <c:pt idx="706">
                  <c:v>41120</c:v>
                </c:pt>
                <c:pt idx="707">
                  <c:v>41121</c:v>
                </c:pt>
                <c:pt idx="708">
                  <c:v>41122</c:v>
                </c:pt>
                <c:pt idx="709">
                  <c:v>41123</c:v>
                </c:pt>
                <c:pt idx="710">
                  <c:v>41124</c:v>
                </c:pt>
                <c:pt idx="711">
                  <c:v>41127</c:v>
                </c:pt>
                <c:pt idx="712">
                  <c:v>41128</c:v>
                </c:pt>
                <c:pt idx="713">
                  <c:v>41129</c:v>
                </c:pt>
                <c:pt idx="714">
                  <c:v>41130</c:v>
                </c:pt>
                <c:pt idx="715">
                  <c:v>41131</c:v>
                </c:pt>
                <c:pt idx="716">
                  <c:v>41134</c:v>
                </c:pt>
                <c:pt idx="717">
                  <c:v>41135</c:v>
                </c:pt>
                <c:pt idx="718">
                  <c:v>41136</c:v>
                </c:pt>
                <c:pt idx="719">
                  <c:v>41137</c:v>
                </c:pt>
                <c:pt idx="720">
                  <c:v>41138</c:v>
                </c:pt>
                <c:pt idx="721">
                  <c:v>41141</c:v>
                </c:pt>
                <c:pt idx="722">
                  <c:v>41142</c:v>
                </c:pt>
                <c:pt idx="723">
                  <c:v>41143</c:v>
                </c:pt>
                <c:pt idx="724">
                  <c:v>41144</c:v>
                </c:pt>
                <c:pt idx="725">
                  <c:v>41145</c:v>
                </c:pt>
                <c:pt idx="726">
                  <c:v>41148</c:v>
                </c:pt>
                <c:pt idx="727">
                  <c:v>41149</c:v>
                </c:pt>
                <c:pt idx="728">
                  <c:v>41150</c:v>
                </c:pt>
                <c:pt idx="729">
                  <c:v>41151</c:v>
                </c:pt>
                <c:pt idx="730">
                  <c:v>41152</c:v>
                </c:pt>
                <c:pt idx="731">
                  <c:v>41155</c:v>
                </c:pt>
                <c:pt idx="732">
                  <c:v>41156</c:v>
                </c:pt>
                <c:pt idx="733">
                  <c:v>41157</c:v>
                </c:pt>
                <c:pt idx="734">
                  <c:v>41158</c:v>
                </c:pt>
                <c:pt idx="735">
                  <c:v>41159</c:v>
                </c:pt>
                <c:pt idx="736">
                  <c:v>41162</c:v>
                </c:pt>
                <c:pt idx="737">
                  <c:v>41163</c:v>
                </c:pt>
                <c:pt idx="738">
                  <c:v>41164</c:v>
                </c:pt>
                <c:pt idx="739">
                  <c:v>41165</c:v>
                </c:pt>
                <c:pt idx="740">
                  <c:v>41166</c:v>
                </c:pt>
                <c:pt idx="741">
                  <c:v>41169</c:v>
                </c:pt>
                <c:pt idx="742">
                  <c:v>41170</c:v>
                </c:pt>
                <c:pt idx="743">
                  <c:v>41171</c:v>
                </c:pt>
                <c:pt idx="744">
                  <c:v>41172</c:v>
                </c:pt>
                <c:pt idx="745">
                  <c:v>41173</c:v>
                </c:pt>
                <c:pt idx="746">
                  <c:v>41176</c:v>
                </c:pt>
                <c:pt idx="747">
                  <c:v>41177</c:v>
                </c:pt>
                <c:pt idx="748">
                  <c:v>41178</c:v>
                </c:pt>
                <c:pt idx="749">
                  <c:v>41179</c:v>
                </c:pt>
                <c:pt idx="750">
                  <c:v>41180</c:v>
                </c:pt>
                <c:pt idx="751">
                  <c:v>41183</c:v>
                </c:pt>
                <c:pt idx="752">
                  <c:v>41184</c:v>
                </c:pt>
                <c:pt idx="753">
                  <c:v>41185</c:v>
                </c:pt>
                <c:pt idx="754">
                  <c:v>41186</c:v>
                </c:pt>
                <c:pt idx="755">
                  <c:v>41187</c:v>
                </c:pt>
                <c:pt idx="756">
                  <c:v>41190</c:v>
                </c:pt>
                <c:pt idx="757">
                  <c:v>41191</c:v>
                </c:pt>
                <c:pt idx="758">
                  <c:v>41192</c:v>
                </c:pt>
                <c:pt idx="759">
                  <c:v>41193</c:v>
                </c:pt>
                <c:pt idx="760">
                  <c:v>41194</c:v>
                </c:pt>
                <c:pt idx="761">
                  <c:v>41197</c:v>
                </c:pt>
                <c:pt idx="762">
                  <c:v>41198</c:v>
                </c:pt>
                <c:pt idx="763">
                  <c:v>41199</c:v>
                </c:pt>
                <c:pt idx="764">
                  <c:v>41200</c:v>
                </c:pt>
                <c:pt idx="765">
                  <c:v>41201</c:v>
                </c:pt>
                <c:pt idx="766">
                  <c:v>41204</c:v>
                </c:pt>
                <c:pt idx="767">
                  <c:v>41205</c:v>
                </c:pt>
                <c:pt idx="768">
                  <c:v>41206</c:v>
                </c:pt>
                <c:pt idx="769">
                  <c:v>41207</c:v>
                </c:pt>
                <c:pt idx="770">
                  <c:v>41208</c:v>
                </c:pt>
                <c:pt idx="771">
                  <c:v>41211</c:v>
                </c:pt>
                <c:pt idx="772">
                  <c:v>41212</c:v>
                </c:pt>
                <c:pt idx="773">
                  <c:v>41213</c:v>
                </c:pt>
                <c:pt idx="774">
                  <c:v>41214</c:v>
                </c:pt>
                <c:pt idx="775">
                  <c:v>41215</c:v>
                </c:pt>
                <c:pt idx="776">
                  <c:v>41218</c:v>
                </c:pt>
                <c:pt idx="777">
                  <c:v>41219</c:v>
                </c:pt>
                <c:pt idx="778">
                  <c:v>41220</c:v>
                </c:pt>
                <c:pt idx="779">
                  <c:v>41221</c:v>
                </c:pt>
                <c:pt idx="780">
                  <c:v>41222</c:v>
                </c:pt>
                <c:pt idx="781">
                  <c:v>41225</c:v>
                </c:pt>
                <c:pt idx="782">
                  <c:v>41226</c:v>
                </c:pt>
                <c:pt idx="783">
                  <c:v>41227</c:v>
                </c:pt>
                <c:pt idx="784">
                  <c:v>41228</c:v>
                </c:pt>
                <c:pt idx="785">
                  <c:v>41229</c:v>
                </c:pt>
                <c:pt idx="786">
                  <c:v>41232</c:v>
                </c:pt>
                <c:pt idx="787">
                  <c:v>41233</c:v>
                </c:pt>
                <c:pt idx="788">
                  <c:v>41234</c:v>
                </c:pt>
                <c:pt idx="789">
                  <c:v>41235</c:v>
                </c:pt>
                <c:pt idx="790">
                  <c:v>41236</c:v>
                </c:pt>
                <c:pt idx="791">
                  <c:v>41239</c:v>
                </c:pt>
                <c:pt idx="792">
                  <c:v>41240</c:v>
                </c:pt>
                <c:pt idx="793">
                  <c:v>41241</c:v>
                </c:pt>
                <c:pt idx="794">
                  <c:v>41242</c:v>
                </c:pt>
                <c:pt idx="795">
                  <c:v>41243</c:v>
                </c:pt>
                <c:pt idx="796">
                  <c:v>41246</c:v>
                </c:pt>
                <c:pt idx="797">
                  <c:v>41247</c:v>
                </c:pt>
                <c:pt idx="798">
                  <c:v>41248</c:v>
                </c:pt>
                <c:pt idx="799">
                  <c:v>41249</c:v>
                </c:pt>
                <c:pt idx="800">
                  <c:v>41250</c:v>
                </c:pt>
                <c:pt idx="801">
                  <c:v>41253</c:v>
                </c:pt>
                <c:pt idx="802">
                  <c:v>41254</c:v>
                </c:pt>
                <c:pt idx="803">
                  <c:v>41255</c:v>
                </c:pt>
                <c:pt idx="804">
                  <c:v>41256</c:v>
                </c:pt>
                <c:pt idx="805">
                  <c:v>41257</c:v>
                </c:pt>
                <c:pt idx="806">
                  <c:v>41260</c:v>
                </c:pt>
                <c:pt idx="807">
                  <c:v>41261</c:v>
                </c:pt>
                <c:pt idx="808">
                  <c:v>41262</c:v>
                </c:pt>
                <c:pt idx="809">
                  <c:v>41263</c:v>
                </c:pt>
                <c:pt idx="810">
                  <c:v>41264</c:v>
                </c:pt>
                <c:pt idx="811">
                  <c:v>41267</c:v>
                </c:pt>
                <c:pt idx="812">
                  <c:v>41270</c:v>
                </c:pt>
                <c:pt idx="813">
                  <c:v>41271</c:v>
                </c:pt>
                <c:pt idx="814">
                  <c:v>41274</c:v>
                </c:pt>
                <c:pt idx="815">
                  <c:v>41276</c:v>
                </c:pt>
                <c:pt idx="816">
                  <c:v>41277</c:v>
                </c:pt>
                <c:pt idx="817">
                  <c:v>41278</c:v>
                </c:pt>
                <c:pt idx="818">
                  <c:v>41281</c:v>
                </c:pt>
                <c:pt idx="819">
                  <c:v>41282</c:v>
                </c:pt>
                <c:pt idx="820">
                  <c:v>41283</c:v>
                </c:pt>
                <c:pt idx="821">
                  <c:v>41284</c:v>
                </c:pt>
                <c:pt idx="822">
                  <c:v>41285</c:v>
                </c:pt>
                <c:pt idx="823">
                  <c:v>41288</c:v>
                </c:pt>
                <c:pt idx="824">
                  <c:v>41289</c:v>
                </c:pt>
                <c:pt idx="825">
                  <c:v>41290</c:v>
                </c:pt>
                <c:pt idx="826">
                  <c:v>41291</c:v>
                </c:pt>
                <c:pt idx="827">
                  <c:v>41292</c:v>
                </c:pt>
                <c:pt idx="828">
                  <c:v>41295</c:v>
                </c:pt>
                <c:pt idx="829">
                  <c:v>41296</c:v>
                </c:pt>
                <c:pt idx="830">
                  <c:v>41297</c:v>
                </c:pt>
                <c:pt idx="831">
                  <c:v>41298</c:v>
                </c:pt>
                <c:pt idx="832">
                  <c:v>41299</c:v>
                </c:pt>
                <c:pt idx="833">
                  <c:v>41302</c:v>
                </c:pt>
                <c:pt idx="834">
                  <c:v>41303</c:v>
                </c:pt>
                <c:pt idx="835">
                  <c:v>41304</c:v>
                </c:pt>
                <c:pt idx="836">
                  <c:v>41305</c:v>
                </c:pt>
                <c:pt idx="837">
                  <c:v>41306</c:v>
                </c:pt>
                <c:pt idx="838">
                  <c:v>41309</c:v>
                </c:pt>
                <c:pt idx="839">
                  <c:v>41310</c:v>
                </c:pt>
                <c:pt idx="840">
                  <c:v>41311</c:v>
                </c:pt>
                <c:pt idx="841">
                  <c:v>41312</c:v>
                </c:pt>
                <c:pt idx="842">
                  <c:v>41313</c:v>
                </c:pt>
                <c:pt idx="843">
                  <c:v>41316</c:v>
                </c:pt>
                <c:pt idx="844">
                  <c:v>41317</c:v>
                </c:pt>
                <c:pt idx="845">
                  <c:v>41318</c:v>
                </c:pt>
                <c:pt idx="846">
                  <c:v>41319</c:v>
                </c:pt>
                <c:pt idx="847">
                  <c:v>41320</c:v>
                </c:pt>
                <c:pt idx="848">
                  <c:v>41323</c:v>
                </c:pt>
                <c:pt idx="849">
                  <c:v>41324</c:v>
                </c:pt>
                <c:pt idx="850">
                  <c:v>41325</c:v>
                </c:pt>
                <c:pt idx="851">
                  <c:v>41326</c:v>
                </c:pt>
                <c:pt idx="852">
                  <c:v>41327</c:v>
                </c:pt>
                <c:pt idx="853">
                  <c:v>41330</c:v>
                </c:pt>
                <c:pt idx="854">
                  <c:v>41331</c:v>
                </c:pt>
                <c:pt idx="855">
                  <c:v>41332</c:v>
                </c:pt>
                <c:pt idx="856">
                  <c:v>41333</c:v>
                </c:pt>
                <c:pt idx="857">
                  <c:v>41334</c:v>
                </c:pt>
                <c:pt idx="858">
                  <c:v>41337</c:v>
                </c:pt>
                <c:pt idx="859">
                  <c:v>41338</c:v>
                </c:pt>
                <c:pt idx="860">
                  <c:v>41339</c:v>
                </c:pt>
                <c:pt idx="861">
                  <c:v>41340</c:v>
                </c:pt>
                <c:pt idx="862">
                  <c:v>41341</c:v>
                </c:pt>
                <c:pt idx="863">
                  <c:v>41344</c:v>
                </c:pt>
                <c:pt idx="864">
                  <c:v>41345</c:v>
                </c:pt>
                <c:pt idx="865">
                  <c:v>41346</c:v>
                </c:pt>
                <c:pt idx="866">
                  <c:v>41347</c:v>
                </c:pt>
                <c:pt idx="867">
                  <c:v>41348</c:v>
                </c:pt>
                <c:pt idx="868">
                  <c:v>41351</c:v>
                </c:pt>
                <c:pt idx="869">
                  <c:v>41352</c:v>
                </c:pt>
                <c:pt idx="870">
                  <c:v>41353</c:v>
                </c:pt>
                <c:pt idx="871">
                  <c:v>41354</c:v>
                </c:pt>
                <c:pt idx="872">
                  <c:v>41355</c:v>
                </c:pt>
                <c:pt idx="873">
                  <c:v>41358</c:v>
                </c:pt>
                <c:pt idx="874">
                  <c:v>41359</c:v>
                </c:pt>
                <c:pt idx="875">
                  <c:v>41360</c:v>
                </c:pt>
                <c:pt idx="876">
                  <c:v>41361</c:v>
                </c:pt>
                <c:pt idx="877">
                  <c:v>41366</c:v>
                </c:pt>
                <c:pt idx="878">
                  <c:v>41367</c:v>
                </c:pt>
                <c:pt idx="879">
                  <c:v>41368</c:v>
                </c:pt>
                <c:pt idx="880">
                  <c:v>41369</c:v>
                </c:pt>
                <c:pt idx="881">
                  <c:v>41372</c:v>
                </c:pt>
                <c:pt idx="882">
                  <c:v>41373</c:v>
                </c:pt>
                <c:pt idx="883">
                  <c:v>41374</c:v>
                </c:pt>
                <c:pt idx="884">
                  <c:v>41375</c:v>
                </c:pt>
                <c:pt idx="885">
                  <c:v>41376</c:v>
                </c:pt>
                <c:pt idx="886">
                  <c:v>41379</c:v>
                </c:pt>
                <c:pt idx="887">
                  <c:v>41380</c:v>
                </c:pt>
                <c:pt idx="888">
                  <c:v>41381</c:v>
                </c:pt>
                <c:pt idx="889">
                  <c:v>41382</c:v>
                </c:pt>
                <c:pt idx="890">
                  <c:v>41383</c:v>
                </c:pt>
                <c:pt idx="891">
                  <c:v>41386</c:v>
                </c:pt>
                <c:pt idx="892">
                  <c:v>41387</c:v>
                </c:pt>
                <c:pt idx="893">
                  <c:v>41388</c:v>
                </c:pt>
                <c:pt idx="894">
                  <c:v>41389</c:v>
                </c:pt>
                <c:pt idx="895">
                  <c:v>41390</c:v>
                </c:pt>
                <c:pt idx="896">
                  <c:v>41393</c:v>
                </c:pt>
                <c:pt idx="897">
                  <c:v>41394</c:v>
                </c:pt>
                <c:pt idx="898">
                  <c:v>41395</c:v>
                </c:pt>
                <c:pt idx="899">
                  <c:v>41396</c:v>
                </c:pt>
                <c:pt idx="900">
                  <c:v>41397</c:v>
                </c:pt>
                <c:pt idx="901">
                  <c:v>41400</c:v>
                </c:pt>
                <c:pt idx="902">
                  <c:v>41401</c:v>
                </c:pt>
                <c:pt idx="903">
                  <c:v>41402</c:v>
                </c:pt>
                <c:pt idx="904">
                  <c:v>41403</c:v>
                </c:pt>
                <c:pt idx="905">
                  <c:v>41404</c:v>
                </c:pt>
                <c:pt idx="906">
                  <c:v>41407</c:v>
                </c:pt>
                <c:pt idx="907">
                  <c:v>41408</c:v>
                </c:pt>
                <c:pt idx="908">
                  <c:v>41409</c:v>
                </c:pt>
                <c:pt idx="909">
                  <c:v>41410</c:v>
                </c:pt>
                <c:pt idx="910">
                  <c:v>41411</c:v>
                </c:pt>
                <c:pt idx="911">
                  <c:v>41414</c:v>
                </c:pt>
                <c:pt idx="912">
                  <c:v>41415</c:v>
                </c:pt>
                <c:pt idx="913">
                  <c:v>41416</c:v>
                </c:pt>
                <c:pt idx="914">
                  <c:v>41417</c:v>
                </c:pt>
                <c:pt idx="915">
                  <c:v>41418</c:v>
                </c:pt>
                <c:pt idx="916">
                  <c:v>41421</c:v>
                </c:pt>
                <c:pt idx="917">
                  <c:v>41422</c:v>
                </c:pt>
                <c:pt idx="918">
                  <c:v>41423</c:v>
                </c:pt>
                <c:pt idx="919">
                  <c:v>41424</c:v>
                </c:pt>
                <c:pt idx="920">
                  <c:v>41425</c:v>
                </c:pt>
                <c:pt idx="921">
                  <c:v>41428</c:v>
                </c:pt>
                <c:pt idx="922">
                  <c:v>41429</c:v>
                </c:pt>
                <c:pt idx="923">
                  <c:v>41430</c:v>
                </c:pt>
                <c:pt idx="924">
                  <c:v>41431</c:v>
                </c:pt>
                <c:pt idx="925">
                  <c:v>41432</c:v>
                </c:pt>
                <c:pt idx="926">
                  <c:v>41435</c:v>
                </c:pt>
                <c:pt idx="927">
                  <c:v>41436</c:v>
                </c:pt>
                <c:pt idx="928">
                  <c:v>41437</c:v>
                </c:pt>
                <c:pt idx="929">
                  <c:v>41438</c:v>
                </c:pt>
                <c:pt idx="930">
                  <c:v>41439</c:v>
                </c:pt>
                <c:pt idx="931">
                  <c:v>41442</c:v>
                </c:pt>
                <c:pt idx="932">
                  <c:v>41443</c:v>
                </c:pt>
                <c:pt idx="933">
                  <c:v>41444</c:v>
                </c:pt>
                <c:pt idx="934">
                  <c:v>41445</c:v>
                </c:pt>
                <c:pt idx="935">
                  <c:v>41446</c:v>
                </c:pt>
                <c:pt idx="936">
                  <c:v>41449</c:v>
                </c:pt>
                <c:pt idx="937">
                  <c:v>41450</c:v>
                </c:pt>
                <c:pt idx="938">
                  <c:v>41451</c:v>
                </c:pt>
                <c:pt idx="939">
                  <c:v>41452</c:v>
                </c:pt>
                <c:pt idx="940">
                  <c:v>41453</c:v>
                </c:pt>
                <c:pt idx="941">
                  <c:v>41456</c:v>
                </c:pt>
                <c:pt idx="942">
                  <c:v>41457</c:v>
                </c:pt>
                <c:pt idx="943">
                  <c:v>41458</c:v>
                </c:pt>
                <c:pt idx="944">
                  <c:v>41459</c:v>
                </c:pt>
                <c:pt idx="945">
                  <c:v>41460</c:v>
                </c:pt>
                <c:pt idx="946">
                  <c:v>41463</c:v>
                </c:pt>
                <c:pt idx="947">
                  <c:v>41464</c:v>
                </c:pt>
                <c:pt idx="948">
                  <c:v>41465</c:v>
                </c:pt>
                <c:pt idx="949">
                  <c:v>41466</c:v>
                </c:pt>
                <c:pt idx="950">
                  <c:v>41467</c:v>
                </c:pt>
                <c:pt idx="951">
                  <c:v>41470</c:v>
                </c:pt>
                <c:pt idx="952">
                  <c:v>41471</c:v>
                </c:pt>
                <c:pt idx="953">
                  <c:v>41472</c:v>
                </c:pt>
                <c:pt idx="954">
                  <c:v>41473</c:v>
                </c:pt>
                <c:pt idx="955">
                  <c:v>41474</c:v>
                </c:pt>
                <c:pt idx="956">
                  <c:v>41477</c:v>
                </c:pt>
                <c:pt idx="957">
                  <c:v>41478</c:v>
                </c:pt>
                <c:pt idx="958">
                  <c:v>41479</c:v>
                </c:pt>
                <c:pt idx="959">
                  <c:v>41480</c:v>
                </c:pt>
                <c:pt idx="960">
                  <c:v>41481</c:v>
                </c:pt>
                <c:pt idx="961">
                  <c:v>41484</c:v>
                </c:pt>
                <c:pt idx="962">
                  <c:v>41485</c:v>
                </c:pt>
                <c:pt idx="963">
                  <c:v>41486</c:v>
                </c:pt>
                <c:pt idx="964">
                  <c:v>41487</c:v>
                </c:pt>
                <c:pt idx="965">
                  <c:v>41488</c:v>
                </c:pt>
                <c:pt idx="966">
                  <c:v>41491</c:v>
                </c:pt>
                <c:pt idx="967">
                  <c:v>41492</c:v>
                </c:pt>
                <c:pt idx="968">
                  <c:v>41493</c:v>
                </c:pt>
                <c:pt idx="969">
                  <c:v>41494</c:v>
                </c:pt>
                <c:pt idx="970">
                  <c:v>41495</c:v>
                </c:pt>
                <c:pt idx="971">
                  <c:v>41498</c:v>
                </c:pt>
                <c:pt idx="972">
                  <c:v>41499</c:v>
                </c:pt>
                <c:pt idx="973">
                  <c:v>41500</c:v>
                </c:pt>
                <c:pt idx="974">
                  <c:v>41501</c:v>
                </c:pt>
                <c:pt idx="975">
                  <c:v>41502</c:v>
                </c:pt>
                <c:pt idx="976">
                  <c:v>41505</c:v>
                </c:pt>
                <c:pt idx="977">
                  <c:v>41506</c:v>
                </c:pt>
                <c:pt idx="978">
                  <c:v>41507</c:v>
                </c:pt>
                <c:pt idx="979">
                  <c:v>41508</c:v>
                </c:pt>
                <c:pt idx="980">
                  <c:v>41509</c:v>
                </c:pt>
                <c:pt idx="981">
                  <c:v>41512</c:v>
                </c:pt>
                <c:pt idx="982">
                  <c:v>41513</c:v>
                </c:pt>
                <c:pt idx="983">
                  <c:v>41514</c:v>
                </c:pt>
                <c:pt idx="984">
                  <c:v>41515</c:v>
                </c:pt>
                <c:pt idx="985">
                  <c:v>41516</c:v>
                </c:pt>
                <c:pt idx="986">
                  <c:v>41519</c:v>
                </c:pt>
                <c:pt idx="987">
                  <c:v>41520</c:v>
                </c:pt>
                <c:pt idx="988">
                  <c:v>41521</c:v>
                </c:pt>
                <c:pt idx="989">
                  <c:v>41522</c:v>
                </c:pt>
                <c:pt idx="990">
                  <c:v>41523</c:v>
                </c:pt>
                <c:pt idx="991">
                  <c:v>41526</c:v>
                </c:pt>
                <c:pt idx="992">
                  <c:v>41527</c:v>
                </c:pt>
                <c:pt idx="993">
                  <c:v>41528</c:v>
                </c:pt>
                <c:pt idx="994">
                  <c:v>41529</c:v>
                </c:pt>
                <c:pt idx="995">
                  <c:v>41530</c:v>
                </c:pt>
                <c:pt idx="996">
                  <c:v>41533</c:v>
                </c:pt>
                <c:pt idx="997">
                  <c:v>41534</c:v>
                </c:pt>
                <c:pt idx="998">
                  <c:v>41535</c:v>
                </c:pt>
                <c:pt idx="999">
                  <c:v>41536</c:v>
                </c:pt>
                <c:pt idx="1000">
                  <c:v>41537</c:v>
                </c:pt>
                <c:pt idx="1001">
                  <c:v>41540</c:v>
                </c:pt>
                <c:pt idx="1002">
                  <c:v>41541</c:v>
                </c:pt>
                <c:pt idx="1003">
                  <c:v>41542</c:v>
                </c:pt>
                <c:pt idx="1004">
                  <c:v>41543</c:v>
                </c:pt>
                <c:pt idx="1005">
                  <c:v>41544</c:v>
                </c:pt>
                <c:pt idx="1006">
                  <c:v>41547</c:v>
                </c:pt>
                <c:pt idx="1007">
                  <c:v>41548</c:v>
                </c:pt>
                <c:pt idx="1008">
                  <c:v>41549</c:v>
                </c:pt>
                <c:pt idx="1009">
                  <c:v>41550</c:v>
                </c:pt>
                <c:pt idx="1010">
                  <c:v>41551</c:v>
                </c:pt>
                <c:pt idx="1011">
                  <c:v>41554</c:v>
                </c:pt>
                <c:pt idx="1012">
                  <c:v>41555</c:v>
                </c:pt>
                <c:pt idx="1013">
                  <c:v>41556</c:v>
                </c:pt>
                <c:pt idx="1014">
                  <c:v>41557</c:v>
                </c:pt>
                <c:pt idx="1015">
                  <c:v>41558</c:v>
                </c:pt>
                <c:pt idx="1016">
                  <c:v>41561</c:v>
                </c:pt>
                <c:pt idx="1017">
                  <c:v>41562</c:v>
                </c:pt>
                <c:pt idx="1018">
                  <c:v>41563</c:v>
                </c:pt>
                <c:pt idx="1019">
                  <c:v>41564</c:v>
                </c:pt>
                <c:pt idx="1020">
                  <c:v>41565</c:v>
                </c:pt>
                <c:pt idx="1021">
                  <c:v>41568</c:v>
                </c:pt>
                <c:pt idx="1022">
                  <c:v>41569</c:v>
                </c:pt>
                <c:pt idx="1023">
                  <c:v>41570</c:v>
                </c:pt>
                <c:pt idx="1024">
                  <c:v>41571</c:v>
                </c:pt>
                <c:pt idx="1025">
                  <c:v>41572</c:v>
                </c:pt>
                <c:pt idx="1026">
                  <c:v>41575</c:v>
                </c:pt>
                <c:pt idx="1027">
                  <c:v>41576</c:v>
                </c:pt>
                <c:pt idx="1028">
                  <c:v>41577</c:v>
                </c:pt>
                <c:pt idx="1029">
                  <c:v>41578</c:v>
                </c:pt>
                <c:pt idx="1030">
                  <c:v>41579</c:v>
                </c:pt>
                <c:pt idx="1031">
                  <c:v>41582</c:v>
                </c:pt>
                <c:pt idx="1032">
                  <c:v>41583</c:v>
                </c:pt>
                <c:pt idx="1033">
                  <c:v>41584</c:v>
                </c:pt>
                <c:pt idx="1034">
                  <c:v>41585</c:v>
                </c:pt>
                <c:pt idx="1035">
                  <c:v>41586</c:v>
                </c:pt>
                <c:pt idx="1036">
                  <c:v>41589</c:v>
                </c:pt>
                <c:pt idx="1037">
                  <c:v>41590</c:v>
                </c:pt>
                <c:pt idx="1038">
                  <c:v>41591</c:v>
                </c:pt>
                <c:pt idx="1039">
                  <c:v>41592</c:v>
                </c:pt>
                <c:pt idx="1040">
                  <c:v>41593</c:v>
                </c:pt>
                <c:pt idx="1041">
                  <c:v>41596</c:v>
                </c:pt>
                <c:pt idx="1042">
                  <c:v>41597</c:v>
                </c:pt>
                <c:pt idx="1043">
                  <c:v>41598</c:v>
                </c:pt>
                <c:pt idx="1044">
                  <c:v>41599</c:v>
                </c:pt>
                <c:pt idx="1045">
                  <c:v>41600</c:v>
                </c:pt>
                <c:pt idx="1046">
                  <c:v>41603</c:v>
                </c:pt>
                <c:pt idx="1047">
                  <c:v>41604</c:v>
                </c:pt>
                <c:pt idx="1048">
                  <c:v>41605</c:v>
                </c:pt>
                <c:pt idx="1049">
                  <c:v>41606</c:v>
                </c:pt>
                <c:pt idx="1050">
                  <c:v>41607</c:v>
                </c:pt>
                <c:pt idx="1051">
                  <c:v>41610</c:v>
                </c:pt>
                <c:pt idx="1052">
                  <c:v>41611</c:v>
                </c:pt>
                <c:pt idx="1053">
                  <c:v>41612</c:v>
                </c:pt>
                <c:pt idx="1054">
                  <c:v>41613</c:v>
                </c:pt>
                <c:pt idx="1055">
                  <c:v>41614</c:v>
                </c:pt>
                <c:pt idx="1056">
                  <c:v>41617</c:v>
                </c:pt>
                <c:pt idx="1057">
                  <c:v>41618</c:v>
                </c:pt>
                <c:pt idx="1058">
                  <c:v>41619</c:v>
                </c:pt>
                <c:pt idx="1059">
                  <c:v>41620</c:v>
                </c:pt>
                <c:pt idx="1060">
                  <c:v>41621</c:v>
                </c:pt>
                <c:pt idx="1061">
                  <c:v>41624</c:v>
                </c:pt>
                <c:pt idx="1062">
                  <c:v>41625</c:v>
                </c:pt>
                <c:pt idx="1063">
                  <c:v>41626</c:v>
                </c:pt>
                <c:pt idx="1064">
                  <c:v>41627</c:v>
                </c:pt>
                <c:pt idx="1065">
                  <c:v>41628</c:v>
                </c:pt>
                <c:pt idx="1066">
                  <c:v>41631</c:v>
                </c:pt>
                <c:pt idx="1067">
                  <c:v>41632</c:v>
                </c:pt>
                <c:pt idx="1068">
                  <c:v>41635</c:v>
                </c:pt>
                <c:pt idx="1069">
                  <c:v>41638</c:v>
                </c:pt>
                <c:pt idx="1070">
                  <c:v>41639</c:v>
                </c:pt>
                <c:pt idx="1071">
                  <c:v>41641</c:v>
                </c:pt>
                <c:pt idx="1072">
                  <c:v>41642</c:v>
                </c:pt>
                <c:pt idx="1073">
                  <c:v>41645</c:v>
                </c:pt>
                <c:pt idx="1074">
                  <c:v>41646</c:v>
                </c:pt>
                <c:pt idx="1075">
                  <c:v>41647</c:v>
                </c:pt>
                <c:pt idx="1076">
                  <c:v>41648</c:v>
                </c:pt>
                <c:pt idx="1077">
                  <c:v>41649</c:v>
                </c:pt>
                <c:pt idx="1078">
                  <c:v>41652</c:v>
                </c:pt>
                <c:pt idx="1079">
                  <c:v>41653</c:v>
                </c:pt>
                <c:pt idx="1080">
                  <c:v>41654</c:v>
                </c:pt>
                <c:pt idx="1081">
                  <c:v>41655</c:v>
                </c:pt>
                <c:pt idx="1082">
                  <c:v>41656</c:v>
                </c:pt>
                <c:pt idx="1083">
                  <c:v>41659</c:v>
                </c:pt>
                <c:pt idx="1084">
                  <c:v>41660</c:v>
                </c:pt>
                <c:pt idx="1085">
                  <c:v>41661</c:v>
                </c:pt>
                <c:pt idx="1086">
                  <c:v>41662</c:v>
                </c:pt>
                <c:pt idx="1087">
                  <c:v>41663</c:v>
                </c:pt>
                <c:pt idx="1088">
                  <c:v>41666</c:v>
                </c:pt>
                <c:pt idx="1089">
                  <c:v>41667</c:v>
                </c:pt>
                <c:pt idx="1090">
                  <c:v>41668</c:v>
                </c:pt>
                <c:pt idx="1091">
                  <c:v>41669</c:v>
                </c:pt>
                <c:pt idx="1092">
                  <c:v>41670</c:v>
                </c:pt>
                <c:pt idx="1093">
                  <c:v>41673</c:v>
                </c:pt>
                <c:pt idx="1094">
                  <c:v>41674</c:v>
                </c:pt>
                <c:pt idx="1095">
                  <c:v>41675</c:v>
                </c:pt>
                <c:pt idx="1096">
                  <c:v>41676</c:v>
                </c:pt>
                <c:pt idx="1097">
                  <c:v>41677</c:v>
                </c:pt>
                <c:pt idx="1098">
                  <c:v>41680</c:v>
                </c:pt>
                <c:pt idx="1099">
                  <c:v>41681</c:v>
                </c:pt>
                <c:pt idx="1100">
                  <c:v>41682</c:v>
                </c:pt>
                <c:pt idx="1101">
                  <c:v>41683</c:v>
                </c:pt>
                <c:pt idx="1102">
                  <c:v>41684</c:v>
                </c:pt>
                <c:pt idx="1103">
                  <c:v>41687</c:v>
                </c:pt>
                <c:pt idx="1104">
                  <c:v>41688</c:v>
                </c:pt>
                <c:pt idx="1105">
                  <c:v>41689</c:v>
                </c:pt>
                <c:pt idx="1106">
                  <c:v>41690</c:v>
                </c:pt>
                <c:pt idx="1107">
                  <c:v>41691</c:v>
                </c:pt>
                <c:pt idx="1108">
                  <c:v>41694</c:v>
                </c:pt>
                <c:pt idx="1109">
                  <c:v>41695</c:v>
                </c:pt>
                <c:pt idx="1110">
                  <c:v>41696</c:v>
                </c:pt>
                <c:pt idx="1111">
                  <c:v>41697</c:v>
                </c:pt>
                <c:pt idx="1112">
                  <c:v>41698</c:v>
                </c:pt>
                <c:pt idx="1113">
                  <c:v>41701</c:v>
                </c:pt>
                <c:pt idx="1114">
                  <c:v>41702</c:v>
                </c:pt>
                <c:pt idx="1115">
                  <c:v>41703</c:v>
                </c:pt>
                <c:pt idx="1116">
                  <c:v>41704</c:v>
                </c:pt>
                <c:pt idx="1117">
                  <c:v>41705</c:v>
                </c:pt>
                <c:pt idx="1118">
                  <c:v>41708</c:v>
                </c:pt>
                <c:pt idx="1119">
                  <c:v>41709</c:v>
                </c:pt>
                <c:pt idx="1120">
                  <c:v>41710</c:v>
                </c:pt>
                <c:pt idx="1121">
                  <c:v>41711</c:v>
                </c:pt>
                <c:pt idx="1122">
                  <c:v>41712</c:v>
                </c:pt>
                <c:pt idx="1123">
                  <c:v>41715</c:v>
                </c:pt>
                <c:pt idx="1124">
                  <c:v>41716</c:v>
                </c:pt>
                <c:pt idx="1125">
                  <c:v>41717</c:v>
                </c:pt>
                <c:pt idx="1126">
                  <c:v>41718</c:v>
                </c:pt>
                <c:pt idx="1127">
                  <c:v>41719</c:v>
                </c:pt>
                <c:pt idx="1128">
                  <c:v>41722</c:v>
                </c:pt>
                <c:pt idx="1129">
                  <c:v>41723</c:v>
                </c:pt>
                <c:pt idx="1130">
                  <c:v>41724</c:v>
                </c:pt>
                <c:pt idx="1131">
                  <c:v>41725</c:v>
                </c:pt>
                <c:pt idx="1132">
                  <c:v>41726</c:v>
                </c:pt>
                <c:pt idx="1133">
                  <c:v>41729</c:v>
                </c:pt>
                <c:pt idx="1134">
                  <c:v>41730</c:v>
                </c:pt>
                <c:pt idx="1135">
                  <c:v>41731</c:v>
                </c:pt>
                <c:pt idx="1136">
                  <c:v>41732</c:v>
                </c:pt>
                <c:pt idx="1137">
                  <c:v>41733</c:v>
                </c:pt>
                <c:pt idx="1138">
                  <c:v>41736</c:v>
                </c:pt>
                <c:pt idx="1139">
                  <c:v>41737</c:v>
                </c:pt>
                <c:pt idx="1140">
                  <c:v>41738</c:v>
                </c:pt>
                <c:pt idx="1141">
                  <c:v>41739</c:v>
                </c:pt>
                <c:pt idx="1142">
                  <c:v>41740</c:v>
                </c:pt>
                <c:pt idx="1143">
                  <c:v>41743</c:v>
                </c:pt>
                <c:pt idx="1144">
                  <c:v>41744</c:v>
                </c:pt>
                <c:pt idx="1145">
                  <c:v>41745</c:v>
                </c:pt>
                <c:pt idx="1146">
                  <c:v>41746</c:v>
                </c:pt>
                <c:pt idx="1147">
                  <c:v>41751</c:v>
                </c:pt>
                <c:pt idx="1148">
                  <c:v>41752</c:v>
                </c:pt>
                <c:pt idx="1149">
                  <c:v>41753</c:v>
                </c:pt>
                <c:pt idx="1150">
                  <c:v>41754</c:v>
                </c:pt>
                <c:pt idx="1151">
                  <c:v>41757</c:v>
                </c:pt>
                <c:pt idx="1152">
                  <c:v>41758</c:v>
                </c:pt>
                <c:pt idx="1153">
                  <c:v>41759</c:v>
                </c:pt>
                <c:pt idx="1154">
                  <c:v>41760</c:v>
                </c:pt>
                <c:pt idx="1155">
                  <c:v>41761</c:v>
                </c:pt>
                <c:pt idx="1156">
                  <c:v>41764</c:v>
                </c:pt>
                <c:pt idx="1157">
                  <c:v>41765</c:v>
                </c:pt>
                <c:pt idx="1158">
                  <c:v>41766</c:v>
                </c:pt>
                <c:pt idx="1159">
                  <c:v>41767</c:v>
                </c:pt>
                <c:pt idx="1160">
                  <c:v>41768</c:v>
                </c:pt>
                <c:pt idx="1161">
                  <c:v>41771</c:v>
                </c:pt>
                <c:pt idx="1162">
                  <c:v>41772</c:v>
                </c:pt>
                <c:pt idx="1163">
                  <c:v>41773</c:v>
                </c:pt>
                <c:pt idx="1164">
                  <c:v>41774</c:v>
                </c:pt>
                <c:pt idx="1165">
                  <c:v>41775</c:v>
                </c:pt>
                <c:pt idx="1166">
                  <c:v>41778</c:v>
                </c:pt>
                <c:pt idx="1167">
                  <c:v>41779</c:v>
                </c:pt>
                <c:pt idx="1168">
                  <c:v>41780</c:v>
                </c:pt>
                <c:pt idx="1169">
                  <c:v>41781</c:v>
                </c:pt>
                <c:pt idx="1170">
                  <c:v>41782</c:v>
                </c:pt>
                <c:pt idx="1171">
                  <c:v>41785</c:v>
                </c:pt>
                <c:pt idx="1172">
                  <c:v>41786</c:v>
                </c:pt>
                <c:pt idx="1173">
                  <c:v>41787</c:v>
                </c:pt>
                <c:pt idx="1174">
                  <c:v>41788</c:v>
                </c:pt>
                <c:pt idx="1175">
                  <c:v>41789</c:v>
                </c:pt>
                <c:pt idx="1176">
                  <c:v>41792</c:v>
                </c:pt>
                <c:pt idx="1177">
                  <c:v>41793</c:v>
                </c:pt>
                <c:pt idx="1178">
                  <c:v>41794</c:v>
                </c:pt>
                <c:pt idx="1179">
                  <c:v>41795</c:v>
                </c:pt>
                <c:pt idx="1180">
                  <c:v>41796</c:v>
                </c:pt>
                <c:pt idx="1181">
                  <c:v>41799</c:v>
                </c:pt>
                <c:pt idx="1182">
                  <c:v>41800</c:v>
                </c:pt>
                <c:pt idx="1183">
                  <c:v>41801</c:v>
                </c:pt>
                <c:pt idx="1184">
                  <c:v>41802</c:v>
                </c:pt>
                <c:pt idx="1185">
                  <c:v>41803</c:v>
                </c:pt>
                <c:pt idx="1186">
                  <c:v>41806</c:v>
                </c:pt>
                <c:pt idx="1187">
                  <c:v>41807</c:v>
                </c:pt>
                <c:pt idx="1188">
                  <c:v>41808</c:v>
                </c:pt>
                <c:pt idx="1189">
                  <c:v>41809</c:v>
                </c:pt>
                <c:pt idx="1190">
                  <c:v>41810</c:v>
                </c:pt>
                <c:pt idx="1191">
                  <c:v>41813</c:v>
                </c:pt>
                <c:pt idx="1192">
                  <c:v>41814</c:v>
                </c:pt>
                <c:pt idx="1193">
                  <c:v>41815</c:v>
                </c:pt>
                <c:pt idx="1194">
                  <c:v>41816</c:v>
                </c:pt>
                <c:pt idx="1195">
                  <c:v>41817</c:v>
                </c:pt>
                <c:pt idx="1196">
                  <c:v>41820</c:v>
                </c:pt>
                <c:pt idx="1197">
                  <c:v>41821</c:v>
                </c:pt>
                <c:pt idx="1198">
                  <c:v>41822</c:v>
                </c:pt>
                <c:pt idx="1199">
                  <c:v>41823</c:v>
                </c:pt>
                <c:pt idx="1200">
                  <c:v>41824</c:v>
                </c:pt>
                <c:pt idx="1201">
                  <c:v>41827</c:v>
                </c:pt>
                <c:pt idx="1202">
                  <c:v>41828</c:v>
                </c:pt>
                <c:pt idx="1203">
                  <c:v>41829</c:v>
                </c:pt>
                <c:pt idx="1204">
                  <c:v>41830</c:v>
                </c:pt>
                <c:pt idx="1205">
                  <c:v>41831</c:v>
                </c:pt>
                <c:pt idx="1206">
                  <c:v>41834</c:v>
                </c:pt>
                <c:pt idx="1207">
                  <c:v>41835</c:v>
                </c:pt>
                <c:pt idx="1208">
                  <c:v>41836</c:v>
                </c:pt>
                <c:pt idx="1209">
                  <c:v>41837</c:v>
                </c:pt>
                <c:pt idx="1210">
                  <c:v>41838</c:v>
                </c:pt>
                <c:pt idx="1211">
                  <c:v>41841</c:v>
                </c:pt>
                <c:pt idx="1212">
                  <c:v>41842</c:v>
                </c:pt>
                <c:pt idx="1213">
                  <c:v>41843</c:v>
                </c:pt>
                <c:pt idx="1214">
                  <c:v>41844</c:v>
                </c:pt>
                <c:pt idx="1215">
                  <c:v>41845</c:v>
                </c:pt>
                <c:pt idx="1216">
                  <c:v>41848</c:v>
                </c:pt>
                <c:pt idx="1217">
                  <c:v>41849</c:v>
                </c:pt>
                <c:pt idx="1218">
                  <c:v>41850</c:v>
                </c:pt>
                <c:pt idx="1219">
                  <c:v>41851</c:v>
                </c:pt>
                <c:pt idx="1220">
                  <c:v>41852</c:v>
                </c:pt>
                <c:pt idx="1221">
                  <c:v>41855</c:v>
                </c:pt>
                <c:pt idx="1222">
                  <c:v>41856</c:v>
                </c:pt>
                <c:pt idx="1223">
                  <c:v>41857</c:v>
                </c:pt>
                <c:pt idx="1224">
                  <c:v>41858</c:v>
                </c:pt>
                <c:pt idx="1225">
                  <c:v>41859</c:v>
                </c:pt>
                <c:pt idx="1226">
                  <c:v>41862</c:v>
                </c:pt>
                <c:pt idx="1227">
                  <c:v>41863</c:v>
                </c:pt>
                <c:pt idx="1228">
                  <c:v>41864</c:v>
                </c:pt>
                <c:pt idx="1229">
                  <c:v>41865</c:v>
                </c:pt>
                <c:pt idx="1230">
                  <c:v>41866</c:v>
                </c:pt>
                <c:pt idx="1231">
                  <c:v>41869</c:v>
                </c:pt>
                <c:pt idx="1232">
                  <c:v>41870</c:v>
                </c:pt>
                <c:pt idx="1233">
                  <c:v>41871</c:v>
                </c:pt>
                <c:pt idx="1234">
                  <c:v>41872</c:v>
                </c:pt>
                <c:pt idx="1235">
                  <c:v>41873</c:v>
                </c:pt>
                <c:pt idx="1236">
                  <c:v>41876</c:v>
                </c:pt>
                <c:pt idx="1237">
                  <c:v>41877</c:v>
                </c:pt>
                <c:pt idx="1238">
                  <c:v>41878</c:v>
                </c:pt>
                <c:pt idx="1239">
                  <c:v>41879</c:v>
                </c:pt>
                <c:pt idx="1240">
                  <c:v>41880</c:v>
                </c:pt>
                <c:pt idx="1241">
                  <c:v>41883</c:v>
                </c:pt>
                <c:pt idx="1242">
                  <c:v>41884</c:v>
                </c:pt>
                <c:pt idx="1243">
                  <c:v>41885</c:v>
                </c:pt>
                <c:pt idx="1244">
                  <c:v>41886</c:v>
                </c:pt>
                <c:pt idx="1245">
                  <c:v>41887</c:v>
                </c:pt>
              </c:numCache>
            </c:numRef>
          </c:cat>
          <c:val>
            <c:numRef>
              <c:f>Sheet1!$C$2:$C$1247</c:f>
              <c:numCache>
                <c:formatCode>General</c:formatCode>
                <c:ptCount val="1246"/>
                <c:pt idx="0">
                  <c:v>100</c:v>
                </c:pt>
                <c:pt idx="1">
                  <c:v>98.844983221040039</c:v>
                </c:pt>
                <c:pt idx="2">
                  <c:v>100.66595562030125</c:v>
                </c:pt>
                <c:pt idx="3">
                  <c:v>101.25386956634843</c:v>
                </c:pt>
                <c:pt idx="4">
                  <c:v>101.47758903254336</c:v>
                </c:pt>
                <c:pt idx="5">
                  <c:v>103.44944200202907</c:v>
                </c:pt>
                <c:pt idx="6">
                  <c:v>103.26474337296115</c:v>
                </c:pt>
                <c:pt idx="7">
                  <c:v>103.72258786191826</c:v>
                </c:pt>
                <c:pt idx="8">
                  <c:v>103.89688093441897</c:v>
                </c:pt>
                <c:pt idx="9">
                  <c:v>104.43536848677194</c:v>
                </c:pt>
                <c:pt idx="10">
                  <c:v>105.93116724330791</c:v>
                </c:pt>
                <c:pt idx="11">
                  <c:v>105.52014775890324</c:v>
                </c:pt>
                <c:pt idx="12">
                  <c:v>105.29642829270828</c:v>
                </c:pt>
                <c:pt idx="13">
                  <c:v>103.55349756770113</c:v>
                </c:pt>
                <c:pt idx="14">
                  <c:v>102.75747249030982</c:v>
                </c:pt>
                <c:pt idx="15">
                  <c:v>104.828178247184</c:v>
                </c:pt>
                <c:pt idx="16">
                  <c:v>104.14661429203194</c:v>
                </c:pt>
                <c:pt idx="17">
                  <c:v>104.60966155927265</c:v>
                </c:pt>
                <c:pt idx="18">
                  <c:v>101.18623344866158</c:v>
                </c:pt>
                <c:pt idx="19">
                  <c:v>102.34905439504696</c:v>
                </c:pt>
                <c:pt idx="20">
                  <c:v>100.90008064306339</c:v>
                </c:pt>
                <c:pt idx="21">
                  <c:v>103.6107281288208</c:v>
                </c:pt>
                <c:pt idx="22">
                  <c:v>104.12580317889753</c:v>
                </c:pt>
                <c:pt idx="23">
                  <c:v>103.94370593897139</c:v>
                </c:pt>
                <c:pt idx="24">
                  <c:v>105.08311438308056</c:v>
                </c:pt>
                <c:pt idx="25">
                  <c:v>104.59665461356363</c:v>
                </c:pt>
                <c:pt idx="26">
                  <c:v>102.96558362165396</c:v>
                </c:pt>
                <c:pt idx="27">
                  <c:v>101.87560157123903</c:v>
                </c:pt>
                <c:pt idx="28">
                  <c:v>102.91875861710152</c:v>
                </c:pt>
                <c:pt idx="29">
                  <c:v>103.44163783460367</c:v>
                </c:pt>
                <c:pt idx="30">
                  <c:v>104.2532712468458</c:v>
                </c:pt>
                <c:pt idx="31">
                  <c:v>104.32611014281625</c:v>
                </c:pt>
                <c:pt idx="32">
                  <c:v>105.66322416170235</c:v>
                </c:pt>
                <c:pt idx="33">
                  <c:v>104.33651569938347</c:v>
                </c:pt>
                <c:pt idx="34">
                  <c:v>103.91769204755339</c:v>
                </c:pt>
                <c:pt idx="35">
                  <c:v>105.34585468640252</c:v>
                </c:pt>
                <c:pt idx="36">
                  <c:v>106.01701308498738</c:v>
                </c:pt>
                <c:pt idx="37">
                  <c:v>106.33958533857077</c:v>
                </c:pt>
                <c:pt idx="38">
                  <c:v>106.3421867277126</c:v>
                </c:pt>
                <c:pt idx="39">
                  <c:v>106.88327566920735</c:v>
                </c:pt>
                <c:pt idx="40">
                  <c:v>107.27348404047761</c:v>
                </c:pt>
                <c:pt idx="41">
                  <c:v>106.89107983663276</c:v>
                </c:pt>
                <c:pt idx="42">
                  <c:v>107.20064514450715</c:v>
                </c:pt>
                <c:pt idx="43">
                  <c:v>108.78749252100621</c:v>
                </c:pt>
                <c:pt idx="44">
                  <c:v>108.76408001873</c:v>
                </c:pt>
                <c:pt idx="45">
                  <c:v>108.92016336723809</c:v>
                </c:pt>
                <c:pt idx="46">
                  <c:v>108.95658281522331</c:v>
                </c:pt>
                <c:pt idx="47">
                  <c:v>109.42483286074763</c:v>
                </c:pt>
                <c:pt idx="48">
                  <c:v>109.28435784709035</c:v>
                </c:pt>
                <c:pt idx="49">
                  <c:v>108.26201191436226</c:v>
                </c:pt>
                <c:pt idx="50">
                  <c:v>108.50654249369163</c:v>
                </c:pt>
                <c:pt idx="51">
                  <c:v>109.30256757108296</c:v>
                </c:pt>
                <c:pt idx="52">
                  <c:v>108.28802580578028</c:v>
                </c:pt>
                <c:pt idx="53">
                  <c:v>109.03462448947737</c:v>
                </c:pt>
                <c:pt idx="54">
                  <c:v>109.89828568455553</c:v>
                </c:pt>
                <c:pt idx="55">
                  <c:v>108.24380219036966</c:v>
                </c:pt>
                <c:pt idx="56">
                  <c:v>106.74800343383366</c:v>
                </c:pt>
                <c:pt idx="57">
                  <c:v>105.54616165032127</c:v>
                </c:pt>
                <c:pt idx="58">
                  <c:v>104.86199630602742</c:v>
                </c:pt>
                <c:pt idx="59">
                  <c:v>105.33805051897713</c:v>
                </c:pt>
                <c:pt idx="60">
                  <c:v>104.47438932389896</c:v>
                </c:pt>
                <c:pt idx="61">
                  <c:v>103.33498087978981</c:v>
                </c:pt>
                <c:pt idx="62">
                  <c:v>104.32611014281625</c:v>
                </c:pt>
                <c:pt idx="63">
                  <c:v>104.96084909341587</c:v>
                </c:pt>
                <c:pt idx="64">
                  <c:v>105.96498530215132</c:v>
                </c:pt>
                <c:pt idx="65">
                  <c:v>105.41609219323118</c:v>
                </c:pt>
                <c:pt idx="66">
                  <c:v>102.58317941780911</c:v>
                </c:pt>
                <c:pt idx="67">
                  <c:v>100.37199864727764</c:v>
                </c:pt>
                <c:pt idx="68">
                  <c:v>100.98592648474285</c:v>
                </c:pt>
                <c:pt idx="69">
                  <c:v>101.10298899612391</c:v>
                </c:pt>
                <c:pt idx="70">
                  <c:v>101.88860851694805</c:v>
                </c:pt>
                <c:pt idx="71">
                  <c:v>102.23459327280769</c:v>
                </c:pt>
                <c:pt idx="72">
                  <c:v>101.93283213235867</c:v>
                </c:pt>
                <c:pt idx="73">
                  <c:v>102.31263494706172</c:v>
                </c:pt>
                <c:pt idx="74">
                  <c:v>103.35579199292422</c:v>
                </c:pt>
                <c:pt idx="75">
                  <c:v>104.79956296662418</c:v>
                </c:pt>
                <c:pt idx="76">
                  <c:v>105.41349080408939</c:v>
                </c:pt>
                <c:pt idx="77">
                  <c:v>105.90515335188991</c:v>
                </c:pt>
                <c:pt idx="78">
                  <c:v>105.63981165942613</c:v>
                </c:pt>
                <c:pt idx="79">
                  <c:v>104.40155042792851</c:v>
                </c:pt>
                <c:pt idx="80">
                  <c:v>104.63047267240707</c:v>
                </c:pt>
                <c:pt idx="81">
                  <c:v>102.96558362165396</c:v>
                </c:pt>
                <c:pt idx="82">
                  <c:v>104.02955178065085</c:v>
                </c:pt>
                <c:pt idx="83">
                  <c:v>105.24960328815587</c:v>
                </c:pt>
                <c:pt idx="84">
                  <c:v>106.13407559636845</c:v>
                </c:pt>
                <c:pt idx="85">
                  <c:v>106.98993262402121</c:v>
                </c:pt>
                <c:pt idx="86">
                  <c:v>107.20324653364897</c:v>
                </c:pt>
                <c:pt idx="87">
                  <c:v>108.9357717020889</c:v>
                </c:pt>
                <c:pt idx="88">
                  <c:v>108.84212169298404</c:v>
                </c:pt>
                <c:pt idx="89">
                  <c:v>108.7848911318644</c:v>
                </c:pt>
                <c:pt idx="90">
                  <c:v>109.47946203272548</c:v>
                </c:pt>
                <c:pt idx="91">
                  <c:v>109.21151895111988</c:v>
                </c:pt>
                <c:pt idx="92">
                  <c:v>109.54709815041232</c:v>
                </c:pt>
                <c:pt idx="93">
                  <c:v>108.81090502328242</c:v>
                </c:pt>
                <c:pt idx="94">
                  <c:v>109.82024401030151</c:v>
                </c:pt>
                <c:pt idx="95">
                  <c:v>110.83998855388776</c:v>
                </c:pt>
                <c:pt idx="96">
                  <c:v>110.78015660362635</c:v>
                </c:pt>
                <c:pt idx="97">
                  <c:v>110.35873156265446</c:v>
                </c:pt>
                <c:pt idx="98">
                  <c:v>110.32491350381105</c:v>
                </c:pt>
                <c:pt idx="99">
                  <c:v>111.06110663094091</c:v>
                </c:pt>
                <c:pt idx="100">
                  <c:v>111.21979136859082</c:v>
                </c:pt>
                <c:pt idx="101">
                  <c:v>112.33058453214015</c:v>
                </c:pt>
                <c:pt idx="102">
                  <c:v>111.84672615176503</c:v>
                </c:pt>
                <c:pt idx="103">
                  <c:v>111.98980255456412</c:v>
                </c:pt>
                <c:pt idx="104">
                  <c:v>111.98199838713873</c:v>
                </c:pt>
                <c:pt idx="105">
                  <c:v>111.86233448661585</c:v>
                </c:pt>
                <c:pt idx="106">
                  <c:v>113.60526521162299</c:v>
                </c:pt>
                <c:pt idx="107">
                  <c:v>114.34926250617829</c:v>
                </c:pt>
                <c:pt idx="108">
                  <c:v>114.0475013657293</c:v>
                </c:pt>
                <c:pt idx="109">
                  <c:v>113.06417627012823</c:v>
                </c:pt>
                <c:pt idx="110">
                  <c:v>114.54176530267162</c:v>
                </c:pt>
                <c:pt idx="111">
                  <c:v>114.39868889987252</c:v>
                </c:pt>
                <c:pt idx="112">
                  <c:v>114.11513748341615</c:v>
                </c:pt>
                <c:pt idx="113">
                  <c:v>114.89555422595666</c:v>
                </c:pt>
                <c:pt idx="114">
                  <c:v>115.64475429879555</c:v>
                </c:pt>
                <c:pt idx="115">
                  <c:v>113.86020134751958</c:v>
                </c:pt>
                <c:pt idx="116">
                  <c:v>113.1630290575167</c:v>
                </c:pt>
                <c:pt idx="117">
                  <c:v>114.71605837517234</c:v>
                </c:pt>
                <c:pt idx="118">
                  <c:v>114.08131942457271</c:v>
                </c:pt>
                <c:pt idx="119">
                  <c:v>112.85346374964229</c:v>
                </c:pt>
                <c:pt idx="120">
                  <c:v>113.78736245154913</c:v>
                </c:pt>
                <c:pt idx="121">
                  <c:v>114.93457506308368</c:v>
                </c:pt>
                <c:pt idx="122">
                  <c:v>111.34725943653909</c:v>
                </c:pt>
                <c:pt idx="123">
                  <c:v>109.94511068910798</c:v>
                </c:pt>
                <c:pt idx="124">
                  <c:v>111.47472750448739</c:v>
                </c:pt>
                <c:pt idx="125">
                  <c:v>110.7515413230665</c:v>
                </c:pt>
                <c:pt idx="126">
                  <c:v>111.08972191150075</c:v>
                </c:pt>
                <c:pt idx="127">
                  <c:v>107.96805494133868</c:v>
                </c:pt>
                <c:pt idx="128">
                  <c:v>107.06797429827526</c:v>
                </c:pt>
                <c:pt idx="129">
                  <c:v>105.56957415259747</c:v>
                </c:pt>
                <c:pt idx="130">
                  <c:v>101.49579875653598</c:v>
                </c:pt>
                <c:pt idx="131">
                  <c:v>108.7666814078718</c:v>
                </c:pt>
                <c:pt idx="132">
                  <c:v>108.30623552977288</c:v>
                </c:pt>
                <c:pt idx="133">
                  <c:v>109.92169818683178</c:v>
                </c:pt>
                <c:pt idx="134">
                  <c:v>110.20004682500455</c:v>
                </c:pt>
                <c:pt idx="135">
                  <c:v>106.46705340651907</c:v>
                </c:pt>
                <c:pt idx="136">
                  <c:v>106.31357144715277</c:v>
                </c:pt>
                <c:pt idx="137">
                  <c:v>107.69230769230769</c:v>
                </c:pt>
                <c:pt idx="138">
                  <c:v>104.49520043703338</c:v>
                </c:pt>
                <c:pt idx="139">
                  <c:v>102.23459327280769</c:v>
                </c:pt>
                <c:pt idx="140">
                  <c:v>101.74293072500716</c:v>
                </c:pt>
                <c:pt idx="141">
                  <c:v>102.21118077053146</c:v>
                </c:pt>
                <c:pt idx="142">
                  <c:v>99.677427746416583</c:v>
                </c:pt>
                <c:pt idx="143">
                  <c:v>102.1045238157176</c:v>
                </c:pt>
                <c:pt idx="144">
                  <c:v>105.18196717046902</c:v>
                </c:pt>
                <c:pt idx="145">
                  <c:v>104.86459769516922</c:v>
                </c:pt>
                <c:pt idx="146">
                  <c:v>105.2912255144247</c:v>
                </c:pt>
                <c:pt idx="147">
                  <c:v>105.46031580864179</c:v>
                </c:pt>
                <c:pt idx="148">
                  <c:v>105.59038526573188</c:v>
                </c:pt>
                <c:pt idx="149">
                  <c:v>107.1017923571187</c:v>
                </c:pt>
                <c:pt idx="150">
                  <c:v>105.21838661845426</c:v>
                </c:pt>
                <c:pt idx="151">
                  <c:v>104.44317265419734</c:v>
                </c:pt>
                <c:pt idx="152">
                  <c:v>103.30116282094639</c:v>
                </c:pt>
                <c:pt idx="153">
                  <c:v>105.27561717957387</c:v>
                </c:pt>
                <c:pt idx="154">
                  <c:v>106.94310761946879</c:v>
                </c:pt>
                <c:pt idx="155">
                  <c:v>107.37493821700788</c:v>
                </c:pt>
                <c:pt idx="156">
                  <c:v>108.73546473817018</c:v>
                </c:pt>
                <c:pt idx="157">
                  <c:v>109.49246897843447</c:v>
                </c:pt>
                <c:pt idx="158">
                  <c:v>109.58351759839753</c:v>
                </c:pt>
                <c:pt idx="159">
                  <c:v>109.76041206004005</c:v>
                </c:pt>
                <c:pt idx="160">
                  <c:v>109.97892874795139</c:v>
                </c:pt>
                <c:pt idx="161">
                  <c:v>111.15475664004579</c:v>
                </c:pt>
                <c:pt idx="162">
                  <c:v>110.61626908769281</c:v>
                </c:pt>
                <c:pt idx="163">
                  <c:v>109.55490231783772</c:v>
                </c:pt>
                <c:pt idx="164">
                  <c:v>107.55183267865038</c:v>
                </c:pt>
                <c:pt idx="165">
                  <c:v>106.92749928461798</c:v>
                </c:pt>
                <c:pt idx="166">
                  <c:v>108.23339663380244</c:v>
                </c:pt>
                <c:pt idx="167">
                  <c:v>104.98426159569209</c:v>
                </c:pt>
                <c:pt idx="168">
                  <c:v>104.78135324263155</c:v>
                </c:pt>
                <c:pt idx="169">
                  <c:v>102.20857938138965</c:v>
                </c:pt>
                <c:pt idx="170">
                  <c:v>102.20077521396425</c:v>
                </c:pt>
                <c:pt idx="171">
                  <c:v>101.95104185635128</c:v>
                </c:pt>
                <c:pt idx="172">
                  <c:v>104.57064072214561</c:v>
                </c:pt>
                <c:pt idx="173">
                  <c:v>105.99880336099477</c:v>
                </c:pt>
                <c:pt idx="174">
                  <c:v>107.09658957883509</c:v>
                </c:pt>
                <c:pt idx="175">
                  <c:v>107.73913269686012</c:v>
                </c:pt>
                <c:pt idx="176">
                  <c:v>108.22038968809345</c:v>
                </c:pt>
                <c:pt idx="177">
                  <c:v>110.28849405582579</c:v>
                </c:pt>
                <c:pt idx="178">
                  <c:v>110.26248016440778</c:v>
                </c:pt>
                <c:pt idx="179">
                  <c:v>108.99040087406675</c:v>
                </c:pt>
                <c:pt idx="180">
                  <c:v>106.89888400405816</c:v>
                </c:pt>
                <c:pt idx="181">
                  <c:v>106.06643947868162</c:v>
                </c:pt>
                <c:pt idx="182">
                  <c:v>106.13927837465205</c:v>
                </c:pt>
                <c:pt idx="183">
                  <c:v>107.39574933014228</c:v>
                </c:pt>
                <c:pt idx="184">
                  <c:v>109.60693010067375</c:v>
                </c:pt>
                <c:pt idx="185">
                  <c:v>110.29369683410941</c:v>
                </c:pt>
                <c:pt idx="186">
                  <c:v>110.79316354933533</c:v>
                </c:pt>
                <c:pt idx="187">
                  <c:v>111.217189979449</c:v>
                </c:pt>
                <c:pt idx="188">
                  <c:v>110.86340105616399</c:v>
                </c:pt>
                <c:pt idx="189">
                  <c:v>110.46278712832651</c:v>
                </c:pt>
                <c:pt idx="190">
                  <c:v>110.06997736791446</c:v>
                </c:pt>
                <c:pt idx="191">
                  <c:v>112.99654015244141</c:v>
                </c:pt>
                <c:pt idx="192">
                  <c:v>112.98613459587419</c:v>
                </c:pt>
                <c:pt idx="193">
                  <c:v>113.10059571811347</c:v>
                </c:pt>
                <c:pt idx="194">
                  <c:v>112.80143596680628</c:v>
                </c:pt>
                <c:pt idx="195">
                  <c:v>111.60479696157748</c:v>
                </c:pt>
                <c:pt idx="196">
                  <c:v>113.13701516609869</c:v>
                </c:pt>
                <c:pt idx="197">
                  <c:v>112.13287895736323</c:v>
                </c:pt>
                <c:pt idx="198">
                  <c:v>109.91909679768996</c:v>
                </c:pt>
                <c:pt idx="199">
                  <c:v>110.02835514164562</c:v>
                </c:pt>
                <c:pt idx="200">
                  <c:v>110.29629822325123</c:v>
                </c:pt>
                <c:pt idx="201">
                  <c:v>110.31971072552741</c:v>
                </c:pt>
                <c:pt idx="202">
                  <c:v>111.55276917874144</c:v>
                </c:pt>
                <c:pt idx="203">
                  <c:v>111.23800109258343</c:v>
                </c:pt>
                <c:pt idx="204">
                  <c:v>109.64074815951719</c:v>
                </c:pt>
                <c:pt idx="205">
                  <c:v>108.88894669753648</c:v>
                </c:pt>
                <c:pt idx="206">
                  <c:v>109.58351759839753</c:v>
                </c:pt>
                <c:pt idx="207">
                  <c:v>107.72352436200931</c:v>
                </c:pt>
                <c:pt idx="208">
                  <c:v>106.89888400405816</c:v>
                </c:pt>
                <c:pt idx="209">
                  <c:v>107.81197159283056</c:v>
                </c:pt>
                <c:pt idx="210">
                  <c:v>108.50133971540801</c:v>
                </c:pt>
                <c:pt idx="211">
                  <c:v>108.4857313805572</c:v>
                </c:pt>
                <c:pt idx="212">
                  <c:v>108.54816471996045</c:v>
                </c:pt>
                <c:pt idx="213">
                  <c:v>111.52935667646521</c:v>
                </c:pt>
                <c:pt idx="214">
                  <c:v>111.52935667646521</c:v>
                </c:pt>
                <c:pt idx="215">
                  <c:v>112.48666788064827</c:v>
                </c:pt>
                <c:pt idx="216">
                  <c:v>112.71819151426861</c:v>
                </c:pt>
                <c:pt idx="217">
                  <c:v>112.21092063161728</c:v>
                </c:pt>
                <c:pt idx="218">
                  <c:v>113.36333602143543</c:v>
                </c:pt>
                <c:pt idx="219">
                  <c:v>114.55477224838062</c:v>
                </c:pt>
                <c:pt idx="220">
                  <c:v>114.39088473244712</c:v>
                </c:pt>
                <c:pt idx="221">
                  <c:v>115.1504903618532</c:v>
                </c:pt>
                <c:pt idx="222">
                  <c:v>115.1244764704352</c:v>
                </c:pt>
                <c:pt idx="223">
                  <c:v>114.75507921229935</c:v>
                </c:pt>
                <c:pt idx="224">
                  <c:v>113.86540412580317</c:v>
                </c:pt>
                <c:pt idx="225">
                  <c:v>113.6000624333394</c:v>
                </c:pt>
                <c:pt idx="226">
                  <c:v>115.06984729845738</c:v>
                </c:pt>
                <c:pt idx="227">
                  <c:v>114.54696808095521</c:v>
                </c:pt>
                <c:pt idx="228">
                  <c:v>112.90549153247834</c:v>
                </c:pt>
                <c:pt idx="229">
                  <c:v>112.85346374964229</c:v>
                </c:pt>
                <c:pt idx="230">
                  <c:v>114.10993470513253</c:v>
                </c:pt>
                <c:pt idx="231">
                  <c:v>113.65209021617542</c:v>
                </c:pt>
                <c:pt idx="232">
                  <c:v>113.41276241512968</c:v>
                </c:pt>
                <c:pt idx="233">
                  <c:v>112.84305819307509</c:v>
                </c:pt>
                <c:pt idx="234">
                  <c:v>112.27855674930412</c:v>
                </c:pt>
                <c:pt idx="235">
                  <c:v>112.01061366769854</c:v>
                </c:pt>
                <c:pt idx="236">
                  <c:v>111.42530111079316</c:v>
                </c:pt>
                <c:pt idx="237">
                  <c:v>112.91329569990374</c:v>
                </c:pt>
                <c:pt idx="238">
                  <c:v>113.49600686766735</c:v>
                </c:pt>
                <c:pt idx="239">
                  <c:v>113.41016102598786</c:v>
                </c:pt>
                <c:pt idx="240">
                  <c:v>113.39195130199526</c:v>
                </c:pt>
                <c:pt idx="241">
                  <c:v>113.80297078639994</c:v>
                </c:pt>
                <c:pt idx="242">
                  <c:v>113.49080408938373</c:v>
                </c:pt>
                <c:pt idx="243">
                  <c:v>115.1322806378606</c:v>
                </c:pt>
                <c:pt idx="244">
                  <c:v>114.88775005853125</c:v>
                </c:pt>
                <c:pt idx="245">
                  <c:v>114.97099451106889</c:v>
                </c:pt>
                <c:pt idx="246">
                  <c:v>115.32218204521214</c:v>
                </c:pt>
                <c:pt idx="247">
                  <c:v>114.71345698603055</c:v>
                </c:pt>
                <c:pt idx="248">
                  <c:v>115.11407091386801</c:v>
                </c:pt>
                <c:pt idx="249">
                  <c:v>115.76181681017663</c:v>
                </c:pt>
                <c:pt idx="250">
                  <c:v>115.38201399547359</c:v>
                </c:pt>
                <c:pt idx="251">
                  <c:v>115.67857235763897</c:v>
                </c:pt>
                <c:pt idx="252">
                  <c:v>115.45745428058582</c:v>
                </c:pt>
                <c:pt idx="253">
                  <c:v>114.61980697692566</c:v>
                </c:pt>
                <c:pt idx="254">
                  <c:v>115.03863062875574</c:v>
                </c:pt>
                <c:pt idx="255">
                  <c:v>115.06724590931556</c:v>
                </c:pt>
                <c:pt idx="256">
                  <c:v>115.25454592752529</c:v>
                </c:pt>
                <c:pt idx="257">
                  <c:v>115.73580291875859</c:v>
                </c:pt>
                <c:pt idx="258">
                  <c:v>115.32998621263752</c:v>
                </c:pt>
                <c:pt idx="259">
                  <c:v>117.19518222730937</c:v>
                </c:pt>
                <c:pt idx="260">
                  <c:v>117.68944616425171</c:v>
                </c:pt>
                <c:pt idx="261">
                  <c:v>117.71025727738611</c:v>
                </c:pt>
                <c:pt idx="262">
                  <c:v>118.38141567597096</c:v>
                </c:pt>
                <c:pt idx="263">
                  <c:v>117.5567753180198</c:v>
                </c:pt>
                <c:pt idx="264">
                  <c:v>117.51775448089279</c:v>
                </c:pt>
                <c:pt idx="265">
                  <c:v>117.03909887880128</c:v>
                </c:pt>
                <c:pt idx="266">
                  <c:v>117.98340313727532</c:v>
                </c:pt>
                <c:pt idx="267">
                  <c:v>115.22072786868188</c:v>
                </c:pt>
                <c:pt idx="268">
                  <c:v>115.86587237584868</c:v>
                </c:pt>
                <c:pt idx="269">
                  <c:v>117.5333628157436</c:v>
                </c:pt>
                <c:pt idx="270">
                  <c:v>116.81798080174812</c:v>
                </c:pt>
                <c:pt idx="271">
                  <c:v>116.06878072890923</c:v>
                </c:pt>
                <c:pt idx="272">
                  <c:v>114.28162638849145</c:v>
                </c:pt>
                <c:pt idx="273">
                  <c:v>115.44965011316042</c:v>
                </c:pt>
                <c:pt idx="274">
                  <c:v>116.06617933976744</c:v>
                </c:pt>
                <c:pt idx="275">
                  <c:v>115.58232095939232</c:v>
                </c:pt>
                <c:pt idx="276">
                  <c:v>113.66249577274263</c:v>
                </c:pt>
                <c:pt idx="277">
                  <c:v>113.51681798080173</c:v>
                </c:pt>
                <c:pt idx="278">
                  <c:v>115.83205431700527</c:v>
                </c:pt>
                <c:pt idx="279">
                  <c:v>117.78569756249837</c:v>
                </c:pt>
                <c:pt idx="280">
                  <c:v>117.50474753518378</c:v>
                </c:pt>
                <c:pt idx="281">
                  <c:v>117.69464894253532</c:v>
                </c:pt>
                <c:pt idx="282">
                  <c:v>118.78983377123382</c:v>
                </c:pt>
                <c:pt idx="283">
                  <c:v>119.26068520589995</c:v>
                </c:pt>
                <c:pt idx="284">
                  <c:v>119.67690746858821</c:v>
                </c:pt>
                <c:pt idx="285">
                  <c:v>119.78616581254389</c:v>
                </c:pt>
                <c:pt idx="286">
                  <c:v>120.13995473582892</c:v>
                </c:pt>
                <c:pt idx="287">
                  <c:v>120.42870893056892</c:v>
                </c:pt>
                <c:pt idx="288">
                  <c:v>119.94745193933558</c:v>
                </c:pt>
                <c:pt idx="289">
                  <c:v>120.41310059571811</c:v>
                </c:pt>
                <c:pt idx="290">
                  <c:v>119.90322832392496</c:v>
                </c:pt>
                <c:pt idx="291">
                  <c:v>120.75388257329413</c:v>
                </c:pt>
                <c:pt idx="292">
                  <c:v>121.94011602195572</c:v>
                </c:pt>
                <c:pt idx="293">
                  <c:v>122.0883952030384</c:v>
                </c:pt>
                <c:pt idx="294">
                  <c:v>122.22366743841209</c:v>
                </c:pt>
                <c:pt idx="295">
                  <c:v>122.08059103561301</c:v>
                </c:pt>
                <c:pt idx="296">
                  <c:v>121.10507010743736</c:v>
                </c:pt>
                <c:pt idx="297">
                  <c:v>121.36781041075935</c:v>
                </c:pt>
                <c:pt idx="298">
                  <c:v>121.73980905803698</c:v>
                </c:pt>
                <c:pt idx="299">
                  <c:v>120.17637418381415</c:v>
                </c:pt>
                <c:pt idx="300">
                  <c:v>119.65089357717021</c:v>
                </c:pt>
                <c:pt idx="301">
                  <c:v>120.61340755963683</c:v>
                </c:pt>
                <c:pt idx="302">
                  <c:v>121.63575349236491</c:v>
                </c:pt>
                <c:pt idx="303">
                  <c:v>121.67997710777554</c:v>
                </c:pt>
                <c:pt idx="304">
                  <c:v>122.11961187274002</c:v>
                </c:pt>
                <c:pt idx="305">
                  <c:v>121.91670351967952</c:v>
                </c:pt>
                <c:pt idx="306">
                  <c:v>120.82412008012278</c:v>
                </c:pt>
                <c:pt idx="307">
                  <c:v>122.34333133893497</c:v>
                </c:pt>
                <c:pt idx="308">
                  <c:v>123.99781483312088</c:v>
                </c:pt>
                <c:pt idx="309">
                  <c:v>123.24601337114018</c:v>
                </c:pt>
                <c:pt idx="310">
                  <c:v>123.12634947061728</c:v>
                </c:pt>
                <c:pt idx="311">
                  <c:v>123.2720272625582</c:v>
                </c:pt>
                <c:pt idx="312">
                  <c:v>124.41923987409275</c:v>
                </c:pt>
                <c:pt idx="313">
                  <c:v>122.70752581878722</c:v>
                </c:pt>
                <c:pt idx="314">
                  <c:v>121.26115345594546</c:v>
                </c:pt>
                <c:pt idx="315">
                  <c:v>122.07538825732939</c:v>
                </c:pt>
                <c:pt idx="316">
                  <c:v>122.39535912177102</c:v>
                </c:pt>
                <c:pt idx="317">
                  <c:v>121.57332015296167</c:v>
                </c:pt>
                <c:pt idx="318">
                  <c:v>122.65029525766759</c:v>
                </c:pt>
                <c:pt idx="319">
                  <c:v>122.8323924975937</c:v>
                </c:pt>
                <c:pt idx="320">
                  <c:v>121.77882989516399</c:v>
                </c:pt>
                <c:pt idx="321">
                  <c:v>121.60193543352149</c:v>
                </c:pt>
                <c:pt idx="322">
                  <c:v>123.40469810879009</c:v>
                </c:pt>
                <c:pt idx="323">
                  <c:v>123.62061340755963</c:v>
                </c:pt>
                <c:pt idx="324">
                  <c:v>123.80010925834395</c:v>
                </c:pt>
                <c:pt idx="325">
                  <c:v>124.19031762961421</c:v>
                </c:pt>
                <c:pt idx="326">
                  <c:v>125.42337608282821</c:v>
                </c:pt>
                <c:pt idx="327">
                  <c:v>125.34533440857416</c:v>
                </c:pt>
                <c:pt idx="328">
                  <c:v>124.90049686532608</c:v>
                </c:pt>
                <c:pt idx="329">
                  <c:v>124.65336489685492</c:v>
                </c:pt>
                <c:pt idx="330">
                  <c:v>125.18144689264065</c:v>
                </c:pt>
                <c:pt idx="331">
                  <c:v>125.66790666215756</c:v>
                </c:pt>
                <c:pt idx="332">
                  <c:v>125.81098306495669</c:v>
                </c:pt>
                <c:pt idx="333">
                  <c:v>126.36768034130223</c:v>
                </c:pt>
                <c:pt idx="334">
                  <c:v>126.56278452693736</c:v>
                </c:pt>
                <c:pt idx="335">
                  <c:v>126.51335813324313</c:v>
                </c:pt>
                <c:pt idx="336">
                  <c:v>124.83546213678103</c:v>
                </c:pt>
                <c:pt idx="337">
                  <c:v>124.05504539424052</c:v>
                </c:pt>
                <c:pt idx="338">
                  <c:v>122.76995915819046</c:v>
                </c:pt>
                <c:pt idx="339">
                  <c:v>122.03896880934417</c:v>
                </c:pt>
                <c:pt idx="340">
                  <c:v>123.58419395957441</c:v>
                </c:pt>
                <c:pt idx="341">
                  <c:v>124.60653989230248</c:v>
                </c:pt>
                <c:pt idx="342">
                  <c:v>123.81311620405296</c:v>
                </c:pt>
                <c:pt idx="343">
                  <c:v>123.03009807237063</c:v>
                </c:pt>
                <c:pt idx="344">
                  <c:v>123.43851616763351</c:v>
                </c:pt>
                <c:pt idx="345">
                  <c:v>122.71012720792902</c:v>
                </c:pt>
                <c:pt idx="346">
                  <c:v>122.19765354699408</c:v>
                </c:pt>
                <c:pt idx="347">
                  <c:v>122.67110637080201</c:v>
                </c:pt>
                <c:pt idx="348">
                  <c:v>122.47860357430866</c:v>
                </c:pt>
                <c:pt idx="349">
                  <c:v>121.04523815717592</c:v>
                </c:pt>
                <c:pt idx="350">
                  <c:v>119.97346583075361</c:v>
                </c:pt>
                <c:pt idx="351">
                  <c:v>118.70398792955437</c:v>
                </c:pt>
                <c:pt idx="352">
                  <c:v>116.01155016778959</c:v>
                </c:pt>
                <c:pt idx="353">
                  <c:v>114.24520694050622</c:v>
                </c:pt>
                <c:pt idx="354">
                  <c:v>116.38615020420903</c:v>
                </c:pt>
                <c:pt idx="355">
                  <c:v>116.62547800525481</c:v>
                </c:pt>
                <c:pt idx="356">
                  <c:v>118.67537264899455</c:v>
                </c:pt>
                <c:pt idx="357">
                  <c:v>118.4438490153742</c:v>
                </c:pt>
                <c:pt idx="358">
                  <c:v>119.03176296142139</c:v>
                </c:pt>
                <c:pt idx="359">
                  <c:v>120.20759085351575</c:v>
                </c:pt>
                <c:pt idx="360">
                  <c:v>120.33505892146405</c:v>
                </c:pt>
                <c:pt idx="361">
                  <c:v>120.44171587627793</c:v>
                </c:pt>
                <c:pt idx="362">
                  <c:v>120.5561769985172</c:v>
                </c:pt>
                <c:pt idx="363">
                  <c:v>121.4718659764314</c:v>
                </c:pt>
                <c:pt idx="364">
                  <c:v>120.32205197575503</c:v>
                </c:pt>
                <c:pt idx="365">
                  <c:v>122.14302437501625</c:v>
                </c:pt>
                <c:pt idx="366">
                  <c:v>122.30951328009156</c:v>
                </c:pt>
                <c:pt idx="367">
                  <c:v>122.59566608568974</c:v>
                </c:pt>
                <c:pt idx="368">
                  <c:v>122.90263000442235</c:v>
                </c:pt>
                <c:pt idx="369">
                  <c:v>122.57225358341353</c:v>
                </c:pt>
                <c:pt idx="370">
                  <c:v>122.99107723524361</c:v>
                </c:pt>
                <c:pt idx="371">
                  <c:v>122.69712026222001</c:v>
                </c:pt>
                <c:pt idx="372">
                  <c:v>120.62381311620405</c:v>
                </c:pt>
                <c:pt idx="373">
                  <c:v>121.52909653755104</c:v>
                </c:pt>
                <c:pt idx="374">
                  <c:v>121.03483260060872</c:v>
                </c:pt>
                <c:pt idx="375">
                  <c:v>121.38602013475194</c:v>
                </c:pt>
                <c:pt idx="376">
                  <c:v>119.40116021955724</c:v>
                </c:pt>
                <c:pt idx="377">
                  <c:v>120.02029083530606</c:v>
                </c:pt>
                <c:pt idx="378">
                  <c:v>122.09099659218022</c:v>
                </c:pt>
                <c:pt idx="379">
                  <c:v>122.78036471475768</c:v>
                </c:pt>
                <c:pt idx="380">
                  <c:v>123.14195780546811</c:v>
                </c:pt>
                <c:pt idx="381">
                  <c:v>123.58939673785801</c:v>
                </c:pt>
                <c:pt idx="382">
                  <c:v>123.99521344397908</c:v>
                </c:pt>
                <c:pt idx="383">
                  <c:v>124.41143570666735</c:v>
                </c:pt>
                <c:pt idx="384">
                  <c:v>124.54150516375744</c:v>
                </c:pt>
                <c:pt idx="385">
                  <c:v>123.94058427200123</c:v>
                </c:pt>
                <c:pt idx="386">
                  <c:v>122.31991883665876</c:v>
                </c:pt>
                <c:pt idx="387">
                  <c:v>122.07798964647121</c:v>
                </c:pt>
                <c:pt idx="388">
                  <c:v>123.74548008636611</c:v>
                </c:pt>
                <c:pt idx="389">
                  <c:v>123.3994953305065</c:v>
                </c:pt>
                <c:pt idx="390">
                  <c:v>124.52069405062302</c:v>
                </c:pt>
                <c:pt idx="391">
                  <c:v>124.96293020472933</c:v>
                </c:pt>
                <c:pt idx="392">
                  <c:v>124.12268151192735</c:v>
                </c:pt>
                <c:pt idx="393">
                  <c:v>123.60760646185062</c:v>
                </c:pt>
                <c:pt idx="394">
                  <c:v>123.50615228532035</c:v>
                </c:pt>
                <c:pt idx="395">
                  <c:v>122.25748549725553</c:v>
                </c:pt>
                <c:pt idx="396">
                  <c:v>122.68931609479461</c:v>
                </c:pt>
                <c:pt idx="397">
                  <c:v>123.50355089617855</c:v>
                </c:pt>
                <c:pt idx="398">
                  <c:v>123.4203064436409</c:v>
                </c:pt>
                <c:pt idx="399">
                  <c:v>121.40683124788636</c:v>
                </c:pt>
                <c:pt idx="400">
                  <c:v>121.67997710777554</c:v>
                </c:pt>
                <c:pt idx="401">
                  <c:v>122.56965219427174</c:v>
                </c:pt>
                <c:pt idx="402">
                  <c:v>122.49421190915947</c:v>
                </c:pt>
                <c:pt idx="403">
                  <c:v>123.35267032595405</c:v>
                </c:pt>
                <c:pt idx="404">
                  <c:v>123.25121614942378</c:v>
                </c:pt>
                <c:pt idx="405">
                  <c:v>124.27616347129367</c:v>
                </c:pt>
                <c:pt idx="406">
                  <c:v>123.21739809058036</c:v>
                </c:pt>
                <c:pt idx="407">
                  <c:v>121.58112432038708</c:v>
                </c:pt>
                <c:pt idx="408">
                  <c:v>121.1414895554226</c:v>
                </c:pt>
                <c:pt idx="409">
                  <c:v>120.49114226997216</c:v>
                </c:pt>
                <c:pt idx="410">
                  <c:v>120.36107281288207</c:v>
                </c:pt>
                <c:pt idx="411">
                  <c:v>119.09939907910822</c:v>
                </c:pt>
                <c:pt idx="412">
                  <c:v>120.32205197575503</c:v>
                </c:pt>
                <c:pt idx="413">
                  <c:v>118.73780598839781</c:v>
                </c:pt>
                <c:pt idx="414">
                  <c:v>119.00314768086157</c:v>
                </c:pt>
                <c:pt idx="415">
                  <c:v>119.9396477719102</c:v>
                </c:pt>
                <c:pt idx="416">
                  <c:v>118.67016987071095</c:v>
                </c:pt>
                <c:pt idx="417">
                  <c:v>118.131682318358</c:v>
                </c:pt>
                <c:pt idx="418">
                  <c:v>118.32938789313492</c:v>
                </c:pt>
                <c:pt idx="419">
                  <c:v>117.72846700137873</c:v>
                </c:pt>
                <c:pt idx="420">
                  <c:v>119.42457272183344</c:v>
                </c:pt>
                <c:pt idx="421">
                  <c:v>118.76642126895763</c:v>
                </c:pt>
                <c:pt idx="422">
                  <c:v>117.10413360734633</c:v>
                </c:pt>
                <c:pt idx="423">
                  <c:v>116.95845581540543</c:v>
                </c:pt>
                <c:pt idx="424">
                  <c:v>116.97146276111442</c:v>
                </c:pt>
                <c:pt idx="425">
                  <c:v>117.52035587003459</c:v>
                </c:pt>
                <c:pt idx="426">
                  <c:v>119.55464217892353</c:v>
                </c:pt>
                <c:pt idx="427">
                  <c:v>120.91256731094404</c:v>
                </c:pt>
                <c:pt idx="428">
                  <c:v>121.83606045628366</c:v>
                </c:pt>
                <c:pt idx="429">
                  <c:v>122.11440909445643</c:v>
                </c:pt>
                <c:pt idx="430">
                  <c:v>122.16643687729247</c:v>
                </c:pt>
                <c:pt idx="431">
                  <c:v>121.80224239744024</c:v>
                </c:pt>
                <c:pt idx="432">
                  <c:v>122.31731744751697</c:v>
                </c:pt>
                <c:pt idx="433">
                  <c:v>121.36520902161753</c:v>
                </c:pt>
                <c:pt idx="434">
                  <c:v>119.653494966312</c:v>
                </c:pt>
                <c:pt idx="435">
                  <c:v>118.88348378033868</c:v>
                </c:pt>
                <c:pt idx="436">
                  <c:v>119.68731302515543</c:v>
                </c:pt>
                <c:pt idx="437">
                  <c:v>118.68577820556176</c:v>
                </c:pt>
                <c:pt idx="438">
                  <c:v>118.34499622798573</c:v>
                </c:pt>
                <c:pt idx="439">
                  <c:v>116.21185713170834</c:v>
                </c:pt>
                <c:pt idx="440">
                  <c:v>117.17697250331676</c:v>
                </c:pt>
                <c:pt idx="441">
                  <c:v>118.71959626440518</c:v>
                </c:pt>
                <c:pt idx="442">
                  <c:v>119.9396477719102</c:v>
                </c:pt>
                <c:pt idx="443">
                  <c:v>120.62121172706225</c:v>
                </c:pt>
                <c:pt idx="444">
                  <c:v>120.29863947347883</c:v>
                </c:pt>
                <c:pt idx="445">
                  <c:v>119.76535469940947</c:v>
                </c:pt>
                <c:pt idx="446">
                  <c:v>118.43864623709059</c:v>
                </c:pt>
                <c:pt idx="447">
                  <c:v>118.45685596108322</c:v>
                </c:pt>
                <c:pt idx="448">
                  <c:v>117.64782393798288</c:v>
                </c:pt>
                <c:pt idx="449">
                  <c:v>116.23266824484273</c:v>
                </c:pt>
                <c:pt idx="450">
                  <c:v>113.99807497203507</c:v>
                </c:pt>
                <c:pt idx="451">
                  <c:v>111.87274004318306</c:v>
                </c:pt>
                <c:pt idx="452">
                  <c:v>107.97065633048047</c:v>
                </c:pt>
                <c:pt idx="453">
                  <c:v>106.07164225696522</c:v>
                </c:pt>
                <c:pt idx="454">
                  <c:v>101.67789599646211</c:v>
                </c:pt>
                <c:pt idx="455">
                  <c:v>103.10866002445304</c:v>
                </c:pt>
                <c:pt idx="456">
                  <c:v>99.297624931713528</c:v>
                </c:pt>
                <c:pt idx="457">
                  <c:v>101.79235711870137</c:v>
                </c:pt>
                <c:pt idx="458">
                  <c:v>105.51234359147786</c:v>
                </c:pt>
                <c:pt idx="459">
                  <c:v>105.67102832912774</c:v>
                </c:pt>
                <c:pt idx="460">
                  <c:v>105.54356026117948</c:v>
                </c:pt>
                <c:pt idx="461">
                  <c:v>105.82711167763586</c:v>
                </c:pt>
                <c:pt idx="462">
                  <c:v>100.78041674254052</c:v>
                </c:pt>
                <c:pt idx="463">
                  <c:v>99.193569366041459</c:v>
                </c:pt>
                <c:pt idx="464">
                  <c:v>99.981790276007374</c:v>
                </c:pt>
                <c:pt idx="465">
                  <c:v>100.75440285112249</c:v>
                </c:pt>
                <c:pt idx="466">
                  <c:v>102.16435576597902</c:v>
                </c:pt>
                <c:pt idx="467">
                  <c:v>100.95470981504123</c:v>
                </c:pt>
                <c:pt idx="468">
                  <c:v>100.26794308160557</c:v>
                </c:pt>
                <c:pt idx="469">
                  <c:v>101.49319736739417</c:v>
                </c:pt>
                <c:pt idx="470">
                  <c:v>102.54415858068209</c:v>
                </c:pt>
                <c:pt idx="471">
                  <c:v>105.56697276345568</c:v>
                </c:pt>
                <c:pt idx="472">
                  <c:v>106.23552977289872</c:v>
                </c:pt>
                <c:pt idx="473">
                  <c:v>103.6445461876642</c:v>
                </c:pt>
                <c:pt idx="474">
                  <c:v>99.370463827683977</c:v>
                </c:pt>
                <c:pt idx="475">
                  <c:v>98.720116542233555</c:v>
                </c:pt>
                <c:pt idx="476">
                  <c:v>101.82097239926119</c:v>
                </c:pt>
                <c:pt idx="477">
                  <c:v>102.54415858068209</c:v>
                </c:pt>
                <c:pt idx="478">
                  <c:v>99.93236388231314</c:v>
                </c:pt>
                <c:pt idx="479">
                  <c:v>97.414219193049092</c:v>
                </c:pt>
                <c:pt idx="480">
                  <c:v>98.277880388127258</c:v>
                </c:pt>
                <c:pt idx="481">
                  <c:v>99.752868031528834</c:v>
                </c:pt>
                <c:pt idx="482">
                  <c:v>101.76634322728336</c:v>
                </c:pt>
                <c:pt idx="483">
                  <c:v>102.42189329101741</c:v>
                </c:pt>
                <c:pt idx="484">
                  <c:v>100.14827918108269</c:v>
                </c:pt>
                <c:pt idx="485">
                  <c:v>101.99266408262011</c:v>
                </c:pt>
                <c:pt idx="486">
                  <c:v>100.3225722535834</c:v>
                </c:pt>
                <c:pt idx="487">
                  <c:v>95.671288468041922</c:v>
                </c:pt>
                <c:pt idx="488">
                  <c:v>96.253999635805513</c:v>
                </c:pt>
                <c:pt idx="489">
                  <c:v>98.074972035066722</c:v>
                </c:pt>
                <c:pt idx="490">
                  <c:v>102.36206134075596</c:v>
                </c:pt>
                <c:pt idx="491">
                  <c:v>101.25126817720663</c:v>
                </c:pt>
                <c:pt idx="492">
                  <c:v>101.92502796493328</c:v>
                </c:pt>
                <c:pt idx="493">
                  <c:v>100.72578757056267</c:v>
                </c:pt>
                <c:pt idx="494">
                  <c:v>99.586379126453522</c:v>
                </c:pt>
                <c:pt idx="495">
                  <c:v>96.841913581852708</c:v>
                </c:pt>
                <c:pt idx="496">
                  <c:v>99.825706927499283</c:v>
                </c:pt>
                <c:pt idx="497">
                  <c:v>102.5519627481075</c:v>
                </c:pt>
                <c:pt idx="498">
                  <c:v>103.31416976665537</c:v>
                </c:pt>
                <c:pt idx="499">
                  <c:v>105.07791160479695</c:v>
                </c:pt>
                <c:pt idx="500">
                  <c:v>104.78395463177337</c:v>
                </c:pt>
                <c:pt idx="501">
                  <c:v>106.5346895242059</c:v>
                </c:pt>
                <c:pt idx="502">
                  <c:v>105.36406441039514</c:v>
                </c:pt>
                <c:pt idx="503">
                  <c:v>106.24333394032412</c:v>
                </c:pt>
                <c:pt idx="504">
                  <c:v>105.24440050987226</c:v>
                </c:pt>
                <c:pt idx="505">
                  <c:v>104.8463879711766</c:v>
                </c:pt>
                <c:pt idx="506">
                  <c:v>105.46811997606721</c:v>
                </c:pt>
                <c:pt idx="507">
                  <c:v>103.84485315158294</c:v>
                </c:pt>
                <c:pt idx="508">
                  <c:v>106.45924923909367</c:v>
                </c:pt>
                <c:pt idx="509">
                  <c:v>107.84318826253218</c:v>
                </c:pt>
                <c:pt idx="510">
                  <c:v>107.06797429827526</c:v>
                </c:pt>
                <c:pt idx="511">
                  <c:v>107.30209932103743</c:v>
                </c:pt>
                <c:pt idx="512">
                  <c:v>111.14174969433677</c:v>
                </c:pt>
                <c:pt idx="513">
                  <c:v>110.95705106526883</c:v>
                </c:pt>
                <c:pt idx="514">
                  <c:v>108.50133971540801</c:v>
                </c:pt>
                <c:pt idx="515">
                  <c:v>104.74493379464633</c:v>
                </c:pt>
                <c:pt idx="516">
                  <c:v>105.78288806222523</c:v>
                </c:pt>
                <c:pt idx="517">
                  <c:v>108.00187300018209</c:v>
                </c:pt>
                <c:pt idx="518">
                  <c:v>106.91449233890897</c:v>
                </c:pt>
                <c:pt idx="519">
                  <c:v>106.38120756483961</c:v>
                </c:pt>
                <c:pt idx="520">
                  <c:v>107.29949793189564</c:v>
                </c:pt>
                <c:pt idx="521">
                  <c:v>105.46291719778363</c:v>
                </c:pt>
                <c:pt idx="522">
                  <c:v>105.03889076766993</c:v>
                </c:pt>
                <c:pt idx="523">
                  <c:v>107.55443406779219</c:v>
                </c:pt>
                <c:pt idx="524">
                  <c:v>106.43063395853385</c:v>
                </c:pt>
                <c:pt idx="525">
                  <c:v>105.78809084050884</c:v>
                </c:pt>
                <c:pt idx="526">
                  <c:v>105.84272001248667</c:v>
                </c:pt>
                <c:pt idx="527">
                  <c:v>104.47699071304075</c:v>
                </c:pt>
                <c:pt idx="528">
                  <c:v>103.67836424650763</c:v>
                </c:pt>
                <c:pt idx="529">
                  <c:v>100.38240420384486</c:v>
                </c:pt>
                <c:pt idx="530">
                  <c:v>99.719049972685397</c:v>
                </c:pt>
                <c:pt idx="531">
                  <c:v>98.428760958351759</c:v>
                </c:pt>
                <c:pt idx="532">
                  <c:v>98.28048177726906</c:v>
                </c:pt>
                <c:pt idx="533">
                  <c:v>98.975052678130126</c:v>
                </c:pt>
                <c:pt idx="534">
                  <c:v>102.68723498348118</c:v>
                </c:pt>
                <c:pt idx="535">
                  <c:v>103.51187534143233</c:v>
                </c:pt>
                <c:pt idx="536">
                  <c:v>107.29429515361201</c:v>
                </c:pt>
                <c:pt idx="537">
                  <c:v>106.58151452875835</c:v>
                </c:pt>
                <c:pt idx="538">
                  <c:v>107.58304934835201</c:v>
                </c:pt>
                <c:pt idx="539">
                  <c:v>108.48312999141541</c:v>
                </c:pt>
                <c:pt idx="540">
                  <c:v>108.11633412242136</c:v>
                </c:pt>
                <c:pt idx="541">
                  <c:v>107.90822299107722</c:v>
                </c:pt>
                <c:pt idx="542">
                  <c:v>106.24073255118232</c:v>
                </c:pt>
                <c:pt idx="543">
                  <c:v>107.49460211753077</c:v>
                </c:pt>
                <c:pt idx="544">
                  <c:v>105.50974220233604</c:v>
                </c:pt>
                <c:pt idx="545">
                  <c:v>106.0690408678234</c:v>
                </c:pt>
                <c:pt idx="546">
                  <c:v>103.89948232356076</c:v>
                </c:pt>
                <c:pt idx="547">
                  <c:v>104.92442964543065</c:v>
                </c:pt>
                <c:pt idx="548">
                  <c:v>104.46918654561534</c:v>
                </c:pt>
                <c:pt idx="549">
                  <c:v>104.51080877188419</c:v>
                </c:pt>
                <c:pt idx="550">
                  <c:v>106.63874508987799</c:v>
                </c:pt>
                <c:pt idx="551">
                  <c:v>106.09505475924141</c:v>
                </c:pt>
                <c:pt idx="552">
                  <c:v>107.21105070107437</c:v>
                </c:pt>
                <c:pt idx="553">
                  <c:v>108.13974662469758</c:v>
                </c:pt>
                <c:pt idx="554">
                  <c:v>108.16315912697381</c:v>
                </c:pt>
                <c:pt idx="555">
                  <c:v>107.4061548867095</c:v>
                </c:pt>
                <c:pt idx="556">
                  <c:v>108.41549387372855</c:v>
                </c:pt>
                <c:pt idx="557">
                  <c:v>109.34939257563539</c:v>
                </c:pt>
                <c:pt idx="558">
                  <c:v>110.51741630030433</c:v>
                </c:pt>
                <c:pt idx="559">
                  <c:v>112.27595536016233</c:v>
                </c:pt>
                <c:pt idx="560">
                  <c:v>111.6334122421373</c:v>
                </c:pt>
                <c:pt idx="561">
                  <c:v>110.63447881168544</c:v>
                </c:pt>
                <c:pt idx="562">
                  <c:v>110.69951354023048</c:v>
                </c:pt>
                <c:pt idx="563">
                  <c:v>110.20264821414634</c:v>
                </c:pt>
                <c:pt idx="564">
                  <c:v>112.19271090762466</c:v>
                </c:pt>
                <c:pt idx="565">
                  <c:v>111.7920969797872</c:v>
                </c:pt>
                <c:pt idx="566">
                  <c:v>111.60219557243568</c:v>
                </c:pt>
                <c:pt idx="567">
                  <c:v>111.45911916963658</c:v>
                </c:pt>
                <c:pt idx="568">
                  <c:v>112.34619286699098</c:v>
                </c:pt>
                <c:pt idx="569">
                  <c:v>113.30870684945759</c:v>
                </c:pt>
                <c:pt idx="570">
                  <c:v>113.42316797169687</c:v>
                </c:pt>
                <c:pt idx="571">
                  <c:v>114.8045056059936</c:v>
                </c:pt>
                <c:pt idx="572">
                  <c:v>114.48193335241017</c:v>
                </c:pt>
                <c:pt idx="573">
                  <c:v>115.00481256991233</c:v>
                </c:pt>
                <c:pt idx="574">
                  <c:v>114.57298197237324</c:v>
                </c:pt>
                <c:pt idx="575">
                  <c:v>114.13854998569235</c:v>
                </c:pt>
                <c:pt idx="576">
                  <c:v>115.44184594573501</c:v>
                </c:pt>
                <c:pt idx="577">
                  <c:v>114.3440597278947</c:v>
                </c:pt>
                <c:pt idx="578">
                  <c:v>113.05116932441923</c:v>
                </c:pt>
                <c:pt idx="579">
                  <c:v>113.90182357378839</c:v>
                </c:pt>
                <c:pt idx="580">
                  <c:v>116.1884446294321</c:v>
                </c:pt>
                <c:pt idx="581">
                  <c:v>116.45638771103771</c:v>
                </c:pt>
                <c:pt idx="582">
                  <c:v>118.46205873936681</c:v>
                </c:pt>
                <c:pt idx="583">
                  <c:v>118.31638094742591</c:v>
                </c:pt>
                <c:pt idx="584">
                  <c:v>117.9990114721261</c:v>
                </c:pt>
                <c:pt idx="585">
                  <c:v>117.75968367108037</c:v>
                </c:pt>
                <c:pt idx="586">
                  <c:v>118.03803230925314</c:v>
                </c:pt>
                <c:pt idx="587">
                  <c:v>116.96886137197262</c:v>
                </c:pt>
                <c:pt idx="588">
                  <c:v>117.83252256705079</c:v>
                </c:pt>
                <c:pt idx="589">
                  <c:v>117.55937670716163</c:v>
                </c:pt>
                <c:pt idx="590">
                  <c:v>118.40742956738899</c:v>
                </c:pt>
                <c:pt idx="591">
                  <c:v>118.47506568507582</c:v>
                </c:pt>
                <c:pt idx="592">
                  <c:v>119.20345464478031</c:v>
                </c:pt>
                <c:pt idx="593">
                  <c:v>120.20759085351575</c:v>
                </c:pt>
                <c:pt idx="594">
                  <c:v>119.58846023776695</c:v>
                </c:pt>
                <c:pt idx="595">
                  <c:v>118.62594625530032</c:v>
                </c:pt>
                <c:pt idx="596">
                  <c:v>118.39442262167996</c:v>
                </c:pt>
                <c:pt idx="597">
                  <c:v>118.70398792955437</c:v>
                </c:pt>
                <c:pt idx="598">
                  <c:v>118.36840873026195</c:v>
                </c:pt>
                <c:pt idx="599">
                  <c:v>118.58172263988969</c:v>
                </c:pt>
                <c:pt idx="600">
                  <c:v>118.62854764444212</c:v>
                </c:pt>
                <c:pt idx="601">
                  <c:v>119.86160609765615</c:v>
                </c:pt>
                <c:pt idx="602">
                  <c:v>119.92664082620119</c:v>
                </c:pt>
                <c:pt idx="603">
                  <c:v>119.18784630992948</c:v>
                </c:pt>
                <c:pt idx="604">
                  <c:v>116.00374600036419</c:v>
                </c:pt>
                <c:pt idx="605">
                  <c:v>116.81798080174812</c:v>
                </c:pt>
                <c:pt idx="606">
                  <c:v>118.70138654041259</c:v>
                </c:pt>
                <c:pt idx="607">
                  <c:v>119.28669909731798</c:v>
                </c:pt>
                <c:pt idx="608">
                  <c:v>119.0265601831378</c:v>
                </c:pt>
                <c:pt idx="609">
                  <c:v>121.13888816628079</c:v>
                </c:pt>
                <c:pt idx="610">
                  <c:v>121.50828542441663</c:v>
                </c:pt>
                <c:pt idx="611">
                  <c:v>121.83085767800004</c:v>
                </c:pt>
                <c:pt idx="612">
                  <c:v>122.46819801774147</c:v>
                </c:pt>
                <c:pt idx="613">
                  <c:v>122.33812856065138</c:v>
                </c:pt>
                <c:pt idx="614">
                  <c:v>120.94378398064566</c:v>
                </c:pt>
                <c:pt idx="615">
                  <c:v>120.83712702583178</c:v>
                </c:pt>
                <c:pt idx="616">
                  <c:v>119.41936994354985</c:v>
                </c:pt>
                <c:pt idx="617">
                  <c:v>119.5052157852293</c:v>
                </c:pt>
                <c:pt idx="618">
                  <c:v>120.62121172706225</c:v>
                </c:pt>
                <c:pt idx="619">
                  <c:v>120.0853255638511</c:v>
                </c:pt>
                <c:pt idx="620">
                  <c:v>118.86007127806249</c:v>
                </c:pt>
                <c:pt idx="621">
                  <c:v>117.36167113238467</c:v>
                </c:pt>
                <c:pt idx="622">
                  <c:v>118.53749902447908</c:v>
                </c:pt>
                <c:pt idx="623">
                  <c:v>120.32465336489686</c:v>
                </c:pt>
                <c:pt idx="624">
                  <c:v>119.0265601831378</c:v>
                </c:pt>
                <c:pt idx="625">
                  <c:v>116.56304466585155</c:v>
                </c:pt>
                <c:pt idx="626">
                  <c:v>116.75034468406129</c:v>
                </c:pt>
                <c:pt idx="627">
                  <c:v>113.83158606695976</c:v>
                </c:pt>
                <c:pt idx="628">
                  <c:v>114.68744309461252</c:v>
                </c:pt>
                <c:pt idx="629">
                  <c:v>116.019354335215</c:v>
                </c:pt>
                <c:pt idx="630">
                  <c:v>114.28422777763325</c:v>
                </c:pt>
                <c:pt idx="631">
                  <c:v>114.70305142946333</c:v>
                </c:pt>
                <c:pt idx="632">
                  <c:v>117.06771415936107</c:v>
                </c:pt>
                <c:pt idx="633">
                  <c:v>116.32111547566399</c:v>
                </c:pt>
                <c:pt idx="634">
                  <c:v>115.79563486902005</c:v>
                </c:pt>
                <c:pt idx="635">
                  <c:v>116.42256965219427</c:v>
                </c:pt>
                <c:pt idx="636">
                  <c:v>113.78736245154913</c:v>
                </c:pt>
                <c:pt idx="637">
                  <c:v>114.98660284591971</c:v>
                </c:pt>
                <c:pt idx="638">
                  <c:v>116.24567519055175</c:v>
                </c:pt>
                <c:pt idx="639">
                  <c:v>116.38615020420903</c:v>
                </c:pt>
                <c:pt idx="640">
                  <c:v>117.30964334954865</c:v>
                </c:pt>
                <c:pt idx="641">
                  <c:v>116.58125438984416</c:v>
                </c:pt>
                <c:pt idx="642">
                  <c:v>117.07551832678651</c:v>
                </c:pt>
                <c:pt idx="643">
                  <c:v>116.68010717723263</c:v>
                </c:pt>
                <c:pt idx="644">
                  <c:v>116.76075024062848</c:v>
                </c:pt>
                <c:pt idx="645">
                  <c:v>114.83051949741161</c:v>
                </c:pt>
                <c:pt idx="646">
                  <c:v>115.69418069248978</c:v>
                </c:pt>
                <c:pt idx="647">
                  <c:v>113.79516661897453</c:v>
                </c:pt>
                <c:pt idx="648">
                  <c:v>113.52722353736895</c:v>
                </c:pt>
                <c:pt idx="649">
                  <c:v>114.26601805364062</c:v>
                </c:pt>
                <c:pt idx="650">
                  <c:v>114.70565281860512</c:v>
                </c:pt>
                <c:pt idx="651">
                  <c:v>112.64795400743996</c:v>
                </c:pt>
                <c:pt idx="652">
                  <c:v>111.89355115631747</c:v>
                </c:pt>
                <c:pt idx="653">
                  <c:v>111.3446580473973</c:v>
                </c:pt>
                <c:pt idx="654">
                  <c:v>110.10379542675788</c:v>
                </c:pt>
                <c:pt idx="655">
                  <c:v>108.93056892380531</c:v>
                </c:pt>
                <c:pt idx="656">
                  <c:v>109.59132176582294</c:v>
                </c:pt>
                <c:pt idx="657">
                  <c:v>111.70364974896594</c:v>
                </c:pt>
                <c:pt idx="658">
                  <c:v>109.31557451679197</c:v>
                </c:pt>
                <c:pt idx="659">
                  <c:v>110.4315704586249</c:v>
                </c:pt>
                <c:pt idx="660">
                  <c:v>110.73333159907391</c:v>
                </c:pt>
                <c:pt idx="661">
                  <c:v>110.73073020993209</c:v>
                </c:pt>
                <c:pt idx="662">
                  <c:v>111.57358029187586</c:v>
                </c:pt>
                <c:pt idx="663">
                  <c:v>109.92690096511537</c:v>
                </c:pt>
                <c:pt idx="664">
                  <c:v>109.54969953955411</c:v>
                </c:pt>
                <c:pt idx="665">
                  <c:v>107.45037850212013</c:v>
                </c:pt>
                <c:pt idx="666">
                  <c:v>106.89888400405816</c:v>
                </c:pt>
                <c:pt idx="667">
                  <c:v>107.2344632033506</c:v>
                </c:pt>
                <c:pt idx="668">
                  <c:v>109.79162872974169</c:v>
                </c:pt>
                <c:pt idx="669">
                  <c:v>111.01948440467208</c:v>
                </c:pt>
                <c:pt idx="670">
                  <c:v>110.72292604250669</c:v>
                </c:pt>
                <c:pt idx="671">
                  <c:v>110.73333159907391</c:v>
                </c:pt>
                <c:pt idx="672">
                  <c:v>111.43050388907676</c:v>
                </c:pt>
                <c:pt idx="673">
                  <c:v>111.02728857209749</c:v>
                </c:pt>
                <c:pt idx="674">
                  <c:v>110.69951354023048</c:v>
                </c:pt>
                <c:pt idx="675">
                  <c:v>111.78169142321998</c:v>
                </c:pt>
                <c:pt idx="676">
                  <c:v>111.90655810202648</c:v>
                </c:pt>
                <c:pt idx="677">
                  <c:v>113.69891522072786</c:v>
                </c:pt>
                <c:pt idx="678">
                  <c:v>114.3544652844619</c:v>
                </c:pt>
                <c:pt idx="679">
                  <c:v>113.78736245154913</c:v>
                </c:pt>
                <c:pt idx="680">
                  <c:v>112.95491792617256</c:v>
                </c:pt>
                <c:pt idx="681">
                  <c:v>111.23019692515803</c:v>
                </c:pt>
                <c:pt idx="682">
                  <c:v>111.12874274862776</c:v>
                </c:pt>
                <c:pt idx="683">
                  <c:v>112.65055539658178</c:v>
                </c:pt>
                <c:pt idx="684">
                  <c:v>112.1042636768034</c:v>
                </c:pt>
                <c:pt idx="685">
                  <c:v>115.08545563330816</c:v>
                </c:pt>
                <c:pt idx="686">
                  <c:v>116.7633516297703</c:v>
                </c:pt>
                <c:pt idx="687">
                  <c:v>117.94178091100646</c:v>
                </c:pt>
                <c:pt idx="688">
                  <c:v>117.93917952186467</c:v>
                </c:pt>
                <c:pt idx="689">
                  <c:v>117.75708228193855</c:v>
                </c:pt>
                <c:pt idx="690">
                  <c:v>116.59946411383679</c:v>
                </c:pt>
                <c:pt idx="691">
                  <c:v>116.1702349054395</c:v>
                </c:pt>
                <c:pt idx="692">
                  <c:v>117.15876277932415</c:v>
                </c:pt>
                <c:pt idx="693">
                  <c:v>117.16136416846594</c:v>
                </c:pt>
                <c:pt idx="694">
                  <c:v>115.92570432611014</c:v>
                </c:pt>
                <c:pt idx="695">
                  <c:v>117.49434197861659</c:v>
                </c:pt>
                <c:pt idx="696">
                  <c:v>117.71285866652792</c:v>
                </c:pt>
                <c:pt idx="697">
                  <c:v>117.41890169350432</c:v>
                </c:pt>
                <c:pt idx="698">
                  <c:v>118.73260321011421</c:v>
                </c:pt>
                <c:pt idx="699">
                  <c:v>120.07492000728388</c:v>
                </c:pt>
                <c:pt idx="700">
                  <c:v>118.38401706511277</c:v>
                </c:pt>
                <c:pt idx="701">
                  <c:v>115.43664316745141</c:v>
                </c:pt>
                <c:pt idx="702">
                  <c:v>114.89555422595666</c:v>
                </c:pt>
                <c:pt idx="703">
                  <c:v>114.83312088655342</c:v>
                </c:pt>
                <c:pt idx="704">
                  <c:v>117.67383782940091</c:v>
                </c:pt>
                <c:pt idx="705">
                  <c:v>119.15923102936968</c:v>
                </c:pt>
                <c:pt idx="706">
                  <c:v>121.05304232460132</c:v>
                </c:pt>
                <c:pt idx="707">
                  <c:v>119.87721443250695</c:v>
                </c:pt>
                <c:pt idx="708">
                  <c:v>120.4313103197107</c:v>
                </c:pt>
                <c:pt idx="709">
                  <c:v>118.92510600660754</c:v>
                </c:pt>
                <c:pt idx="710">
                  <c:v>121.81524934314922</c:v>
                </c:pt>
                <c:pt idx="711">
                  <c:v>122.37454800863661</c:v>
                </c:pt>
                <c:pt idx="712">
                  <c:v>123.29283837569261</c:v>
                </c:pt>
                <c:pt idx="713">
                  <c:v>123.65183007726124</c:v>
                </c:pt>
                <c:pt idx="714">
                  <c:v>124.14609401420358</c:v>
                </c:pt>
                <c:pt idx="715">
                  <c:v>123.96919955256107</c:v>
                </c:pt>
                <c:pt idx="716">
                  <c:v>123.43331338934991</c:v>
                </c:pt>
                <c:pt idx="717">
                  <c:v>124.27096069301004</c:v>
                </c:pt>
                <c:pt idx="718">
                  <c:v>124.27876486043547</c:v>
                </c:pt>
                <c:pt idx="719">
                  <c:v>124.67937878827293</c:v>
                </c:pt>
                <c:pt idx="720">
                  <c:v>125.42077469368643</c:v>
                </c:pt>
                <c:pt idx="721">
                  <c:v>124.81465102364662</c:v>
                </c:pt>
                <c:pt idx="722">
                  <c:v>125.30631357144715</c:v>
                </c:pt>
                <c:pt idx="723">
                  <c:v>123.80271064748575</c:v>
                </c:pt>
                <c:pt idx="724">
                  <c:v>123.07432168778128</c:v>
                </c:pt>
                <c:pt idx="725">
                  <c:v>123.22260086886396</c:v>
                </c:pt>
                <c:pt idx="726">
                  <c:v>123.77409536692593</c:v>
                </c:pt>
                <c:pt idx="727">
                  <c:v>122.91043417184777</c:v>
                </c:pt>
                <c:pt idx="728">
                  <c:v>122.77776332561588</c:v>
                </c:pt>
                <c:pt idx="729">
                  <c:v>121.84386462370904</c:v>
                </c:pt>
                <c:pt idx="730">
                  <c:v>122.42397440233084</c:v>
                </c:pt>
                <c:pt idx="731">
                  <c:v>123.4515231133425</c:v>
                </c:pt>
                <c:pt idx="732">
                  <c:v>122.05977992247858</c:v>
                </c:pt>
                <c:pt idx="733">
                  <c:v>122.14042298587444</c:v>
                </c:pt>
                <c:pt idx="734">
                  <c:v>124.98374131786375</c:v>
                </c:pt>
                <c:pt idx="735">
                  <c:v>125.29070523659634</c:v>
                </c:pt>
                <c:pt idx="736">
                  <c:v>125.01495798756534</c:v>
                </c:pt>
                <c:pt idx="737">
                  <c:v>125.42337608282821</c:v>
                </c:pt>
                <c:pt idx="738">
                  <c:v>125.58466220961992</c:v>
                </c:pt>
                <c:pt idx="739">
                  <c:v>125.35834135428317</c:v>
                </c:pt>
                <c:pt idx="740">
                  <c:v>126.98160817876744</c:v>
                </c:pt>
                <c:pt idx="741">
                  <c:v>126.55237897037017</c:v>
                </c:pt>
                <c:pt idx="742">
                  <c:v>125.9956816940246</c:v>
                </c:pt>
                <c:pt idx="743">
                  <c:v>126.51595952238495</c:v>
                </c:pt>
                <c:pt idx="744">
                  <c:v>126.33126089331704</c:v>
                </c:pt>
                <c:pt idx="745">
                  <c:v>126.921776228506</c:v>
                </c:pt>
                <c:pt idx="746">
                  <c:v>126.46913451783253</c:v>
                </c:pt>
                <c:pt idx="747">
                  <c:v>126.98420956790926</c:v>
                </c:pt>
                <c:pt idx="748">
                  <c:v>124.66637184256393</c:v>
                </c:pt>
                <c:pt idx="749">
                  <c:v>125.09560105096121</c:v>
                </c:pt>
                <c:pt idx="750">
                  <c:v>123.63882313155223</c:v>
                </c:pt>
                <c:pt idx="751">
                  <c:v>125.42337608282821</c:v>
                </c:pt>
                <c:pt idx="752">
                  <c:v>125.09299966181942</c:v>
                </c:pt>
                <c:pt idx="753">
                  <c:v>124.98374131786375</c:v>
                </c:pt>
                <c:pt idx="754">
                  <c:v>124.96553159387112</c:v>
                </c:pt>
                <c:pt idx="755">
                  <c:v>126.24541505163758</c:v>
                </c:pt>
                <c:pt idx="756">
                  <c:v>125.01235659842355</c:v>
                </c:pt>
                <c:pt idx="757">
                  <c:v>124.44525376551077</c:v>
                </c:pt>
                <c:pt idx="758">
                  <c:v>123.78710231263494</c:v>
                </c:pt>
                <c:pt idx="759">
                  <c:v>124.76522462995239</c:v>
                </c:pt>
                <c:pt idx="760">
                  <c:v>124.11747873364376</c:v>
                </c:pt>
                <c:pt idx="761">
                  <c:v>124.75221768424338</c:v>
                </c:pt>
                <c:pt idx="762">
                  <c:v>126.39889701100387</c:v>
                </c:pt>
                <c:pt idx="763">
                  <c:v>127.02583179417807</c:v>
                </c:pt>
                <c:pt idx="764">
                  <c:v>127.26776098436565</c:v>
                </c:pt>
                <c:pt idx="765">
                  <c:v>126.2974428344736</c:v>
                </c:pt>
                <c:pt idx="766">
                  <c:v>125.78236778439687</c:v>
                </c:pt>
                <c:pt idx="767">
                  <c:v>123.68304674696287</c:v>
                </c:pt>
                <c:pt idx="768">
                  <c:v>124.24754819073385</c:v>
                </c:pt>
                <c:pt idx="769">
                  <c:v>124.57272183345907</c:v>
                </c:pt>
                <c:pt idx="770">
                  <c:v>124.70279129054916</c:v>
                </c:pt>
                <c:pt idx="771">
                  <c:v>124.21633152103222</c:v>
                </c:pt>
                <c:pt idx="772">
                  <c:v>125.27769829088733</c:v>
                </c:pt>
                <c:pt idx="773">
                  <c:v>124.60914128144429</c:v>
                </c:pt>
                <c:pt idx="774">
                  <c:v>126.17777893395072</c:v>
                </c:pt>
                <c:pt idx="775">
                  <c:v>126.70846231887826</c:v>
                </c:pt>
                <c:pt idx="776">
                  <c:v>125.94885668947218</c:v>
                </c:pt>
                <c:pt idx="777">
                  <c:v>126.65903592518404</c:v>
                </c:pt>
                <c:pt idx="778">
                  <c:v>125.00455243099813</c:v>
                </c:pt>
                <c:pt idx="779">
                  <c:v>124.7938399105122</c:v>
                </c:pt>
                <c:pt idx="780">
                  <c:v>124.65076350771311</c:v>
                </c:pt>
                <c:pt idx="781">
                  <c:v>124.31518430842068</c:v>
                </c:pt>
                <c:pt idx="782">
                  <c:v>124.80684685622121</c:v>
                </c:pt>
                <c:pt idx="783">
                  <c:v>123.7272703623735</c:v>
                </c:pt>
                <c:pt idx="784">
                  <c:v>122.52282718971929</c:v>
                </c:pt>
                <c:pt idx="785">
                  <c:v>121.29497151478887</c:v>
                </c:pt>
                <c:pt idx="786">
                  <c:v>123.94318566114305</c:v>
                </c:pt>
                <c:pt idx="787">
                  <c:v>124.35940792383131</c:v>
                </c:pt>
                <c:pt idx="788">
                  <c:v>124.69758851226555</c:v>
                </c:pt>
                <c:pt idx="789">
                  <c:v>125.43378163939542</c:v>
                </c:pt>
                <c:pt idx="790">
                  <c:v>126.18558310137612</c:v>
                </c:pt>
                <c:pt idx="791">
                  <c:v>125.57425665305273</c:v>
                </c:pt>
                <c:pt idx="792">
                  <c:v>125.97226919174838</c:v>
                </c:pt>
                <c:pt idx="793">
                  <c:v>126.12575115111468</c:v>
                </c:pt>
                <c:pt idx="794">
                  <c:v>127.58773184880725</c:v>
                </c:pt>
                <c:pt idx="795">
                  <c:v>127.34320126947789</c:v>
                </c:pt>
                <c:pt idx="796">
                  <c:v>127.5070887854114</c:v>
                </c:pt>
                <c:pt idx="797">
                  <c:v>127.56692073567284</c:v>
                </c:pt>
                <c:pt idx="798">
                  <c:v>127.89469576753984</c:v>
                </c:pt>
                <c:pt idx="799">
                  <c:v>128.77396529746883</c:v>
                </c:pt>
                <c:pt idx="800">
                  <c:v>128.93525142426054</c:v>
                </c:pt>
                <c:pt idx="801">
                  <c:v>129.11214588590306</c:v>
                </c:pt>
                <c:pt idx="802">
                  <c:v>129.54657787258395</c:v>
                </c:pt>
                <c:pt idx="803">
                  <c:v>129.62722093597981</c:v>
                </c:pt>
                <c:pt idx="804">
                  <c:v>129.1667750578809</c:v>
                </c:pt>
                <c:pt idx="805">
                  <c:v>129.05751671392522</c:v>
                </c:pt>
                <c:pt idx="806">
                  <c:v>128.98207642881297</c:v>
                </c:pt>
                <c:pt idx="807">
                  <c:v>129.57259176400194</c:v>
                </c:pt>
                <c:pt idx="808">
                  <c:v>130.12408626206394</c:v>
                </c:pt>
                <c:pt idx="809">
                  <c:v>130.19952654717619</c:v>
                </c:pt>
                <c:pt idx="810">
                  <c:v>129.80151400848052</c:v>
                </c:pt>
                <c:pt idx="811">
                  <c:v>129.60120704456179</c:v>
                </c:pt>
                <c:pt idx="812">
                  <c:v>129.65583621653963</c:v>
                </c:pt>
                <c:pt idx="813">
                  <c:v>128.81298613459586</c:v>
                </c:pt>
                <c:pt idx="814">
                  <c:v>129.22920839728414</c:v>
                </c:pt>
                <c:pt idx="815">
                  <c:v>131.84620587393667</c:v>
                </c:pt>
                <c:pt idx="816">
                  <c:v>132.55118233136494</c:v>
                </c:pt>
                <c:pt idx="817">
                  <c:v>133.01422959860565</c:v>
                </c:pt>
                <c:pt idx="818">
                  <c:v>132.46013371140188</c:v>
                </c:pt>
                <c:pt idx="819">
                  <c:v>132.28584063890116</c:v>
                </c:pt>
                <c:pt idx="820">
                  <c:v>133.20152961681535</c:v>
                </c:pt>
                <c:pt idx="821">
                  <c:v>132.85034208267214</c:v>
                </c:pt>
                <c:pt idx="822">
                  <c:v>132.68385317759683</c:v>
                </c:pt>
                <c:pt idx="823">
                  <c:v>132.1895892406545</c:v>
                </c:pt>
                <c:pt idx="824">
                  <c:v>132.19999479722171</c:v>
                </c:pt>
                <c:pt idx="825">
                  <c:v>132.24942119091594</c:v>
                </c:pt>
                <c:pt idx="826">
                  <c:v>132.85814625009755</c:v>
                </c:pt>
                <c:pt idx="827">
                  <c:v>132.71246845815665</c:v>
                </c:pt>
                <c:pt idx="828">
                  <c:v>133.06365599229989</c:v>
                </c:pt>
                <c:pt idx="829">
                  <c:v>133.00642543118025</c:v>
                </c:pt>
                <c:pt idx="830">
                  <c:v>133.27696990192763</c:v>
                </c:pt>
                <c:pt idx="831">
                  <c:v>133.63075882521267</c:v>
                </c:pt>
                <c:pt idx="832">
                  <c:v>134.01316302905749</c:v>
                </c:pt>
                <c:pt idx="833">
                  <c:v>133.84927551312401</c:v>
                </c:pt>
                <c:pt idx="834">
                  <c:v>134.2837074998049</c:v>
                </c:pt>
                <c:pt idx="835">
                  <c:v>133.51629770297336</c:v>
                </c:pt>
                <c:pt idx="836">
                  <c:v>132.86334902838115</c:v>
                </c:pt>
                <c:pt idx="837">
                  <c:v>133.31599073905466</c:v>
                </c:pt>
                <c:pt idx="838">
                  <c:v>131.32852943471812</c:v>
                </c:pt>
                <c:pt idx="839">
                  <c:v>132.09593923154966</c:v>
                </c:pt>
                <c:pt idx="840">
                  <c:v>131.63289196430895</c:v>
                </c:pt>
                <c:pt idx="841">
                  <c:v>131.33373221300172</c:v>
                </c:pt>
                <c:pt idx="842">
                  <c:v>132.9387893134934</c:v>
                </c:pt>
                <c:pt idx="843">
                  <c:v>132.13756145781846</c:v>
                </c:pt>
                <c:pt idx="844">
                  <c:v>132.80871985640331</c:v>
                </c:pt>
                <c:pt idx="845">
                  <c:v>133.45906714185375</c:v>
                </c:pt>
                <c:pt idx="846">
                  <c:v>133.2405504539424</c:v>
                </c:pt>
                <c:pt idx="847">
                  <c:v>133.02983793345646</c:v>
                </c:pt>
                <c:pt idx="848">
                  <c:v>132.76189485185088</c:v>
                </c:pt>
                <c:pt idx="849">
                  <c:v>134.26549777581226</c:v>
                </c:pt>
                <c:pt idx="850">
                  <c:v>133.88829635025101</c:v>
                </c:pt>
                <c:pt idx="851">
                  <c:v>131.93985588304153</c:v>
                </c:pt>
                <c:pt idx="852">
                  <c:v>133.65677271663066</c:v>
                </c:pt>
                <c:pt idx="853">
                  <c:v>133.57612965323483</c:v>
                </c:pt>
                <c:pt idx="854">
                  <c:v>131.8956322676309</c:v>
                </c:pt>
                <c:pt idx="855">
                  <c:v>133.10267682942691</c:v>
                </c:pt>
                <c:pt idx="856">
                  <c:v>134.38516167633517</c:v>
                </c:pt>
                <c:pt idx="857">
                  <c:v>133.96113524622149</c:v>
                </c:pt>
                <c:pt idx="858">
                  <c:v>133.90390468510185</c:v>
                </c:pt>
                <c:pt idx="859">
                  <c:v>136.32059519783564</c:v>
                </c:pt>
                <c:pt idx="860">
                  <c:v>136.03704378137925</c:v>
                </c:pt>
                <c:pt idx="861">
                  <c:v>136.00842850081943</c:v>
                </c:pt>
                <c:pt idx="862">
                  <c:v>137.10881610780154</c:v>
                </c:pt>
                <c:pt idx="863">
                  <c:v>136.97614526156966</c:v>
                </c:pt>
                <c:pt idx="864">
                  <c:v>137.02817304440572</c:v>
                </c:pt>
                <c:pt idx="865">
                  <c:v>137.08020082724175</c:v>
                </c:pt>
                <c:pt idx="866">
                  <c:v>138.56559402721052</c:v>
                </c:pt>
                <c:pt idx="867">
                  <c:v>138.0817356468354</c:v>
                </c:pt>
                <c:pt idx="868">
                  <c:v>137.80858978694621</c:v>
                </c:pt>
                <c:pt idx="869">
                  <c:v>137.22067584089902</c:v>
                </c:pt>
                <c:pt idx="870">
                  <c:v>137.75396061496838</c:v>
                </c:pt>
                <c:pt idx="871">
                  <c:v>136.8564813610468</c:v>
                </c:pt>
                <c:pt idx="872">
                  <c:v>136.66918134283708</c:v>
                </c:pt>
                <c:pt idx="873">
                  <c:v>136.31018964126841</c:v>
                </c:pt>
                <c:pt idx="874">
                  <c:v>136.55211883145597</c:v>
                </c:pt>
                <c:pt idx="875">
                  <c:v>135.96680627455061</c:v>
                </c:pt>
                <c:pt idx="876">
                  <c:v>136.59113966858303</c:v>
                </c:pt>
                <c:pt idx="877">
                  <c:v>138.33407039359017</c:v>
                </c:pt>
                <c:pt idx="878">
                  <c:v>137.09580916209254</c:v>
                </c:pt>
                <c:pt idx="879">
                  <c:v>135.67284930152698</c:v>
                </c:pt>
                <c:pt idx="880">
                  <c:v>133.55531854010042</c:v>
                </c:pt>
                <c:pt idx="881">
                  <c:v>133.86228245883302</c:v>
                </c:pt>
                <c:pt idx="882">
                  <c:v>134.06519081189353</c:v>
                </c:pt>
                <c:pt idx="883">
                  <c:v>136.48448271376913</c:v>
                </c:pt>
                <c:pt idx="884">
                  <c:v>137.35594807627271</c:v>
                </c:pt>
                <c:pt idx="885">
                  <c:v>136.22174241044715</c:v>
                </c:pt>
                <c:pt idx="886">
                  <c:v>135.39450066335422</c:v>
                </c:pt>
                <c:pt idx="887">
                  <c:v>134.34614083920815</c:v>
                </c:pt>
                <c:pt idx="888">
                  <c:v>132.31705730860278</c:v>
                </c:pt>
                <c:pt idx="889">
                  <c:v>132.32226008688639</c:v>
                </c:pt>
                <c:pt idx="890">
                  <c:v>133.07666293800889</c:v>
                </c:pt>
                <c:pt idx="891">
                  <c:v>133.32119351733823</c:v>
                </c:pt>
                <c:pt idx="892">
                  <c:v>136.57813272287399</c:v>
                </c:pt>
                <c:pt idx="893">
                  <c:v>137.61348560131108</c:v>
                </c:pt>
                <c:pt idx="894">
                  <c:v>138.70086626258421</c:v>
                </c:pt>
                <c:pt idx="895">
                  <c:v>138.32366483702296</c:v>
                </c:pt>
                <c:pt idx="896">
                  <c:v>139.13789963840691</c:v>
                </c:pt>
                <c:pt idx="897">
                  <c:v>138.85694961109232</c:v>
                </c:pt>
                <c:pt idx="898">
                  <c:v>138.9714107333316</c:v>
                </c:pt>
                <c:pt idx="899">
                  <c:v>139.4708774485575</c:v>
                </c:pt>
                <c:pt idx="900">
                  <c:v>140.97187898337711</c:v>
                </c:pt>
                <c:pt idx="901">
                  <c:v>141.00049426393693</c:v>
                </c:pt>
                <c:pt idx="902">
                  <c:v>141.38810124606539</c:v>
                </c:pt>
                <c:pt idx="903">
                  <c:v>142.42085273536068</c:v>
                </c:pt>
                <c:pt idx="904">
                  <c:v>142.54311802502536</c:v>
                </c:pt>
                <c:pt idx="905">
                  <c:v>143.14143752763974</c:v>
                </c:pt>
                <c:pt idx="906">
                  <c:v>142.89690694831037</c:v>
                </c:pt>
                <c:pt idx="907">
                  <c:v>143.50563200749198</c:v>
                </c:pt>
                <c:pt idx="908">
                  <c:v>144.72048073671343</c:v>
                </c:pt>
                <c:pt idx="909">
                  <c:v>144.70747379100439</c:v>
                </c:pt>
                <c:pt idx="910">
                  <c:v>145.10548632970003</c:v>
                </c:pt>
                <c:pt idx="911">
                  <c:v>145.68559610832185</c:v>
                </c:pt>
                <c:pt idx="912">
                  <c:v>145.81566556541193</c:v>
                </c:pt>
                <c:pt idx="913">
                  <c:v>146.16165032127157</c:v>
                </c:pt>
                <c:pt idx="914">
                  <c:v>143.06079446424391</c:v>
                </c:pt>
                <c:pt idx="915">
                  <c:v>142.78244582607113</c:v>
                </c:pt>
                <c:pt idx="916">
                  <c:v>143.25850003902082</c:v>
                </c:pt>
                <c:pt idx="917">
                  <c:v>145.09247938399105</c:v>
                </c:pt>
                <c:pt idx="918">
                  <c:v>142.41564995707708</c:v>
                </c:pt>
                <c:pt idx="919">
                  <c:v>142.93852917457923</c:v>
                </c:pt>
                <c:pt idx="920">
                  <c:v>141.68986238651436</c:v>
                </c:pt>
                <c:pt idx="921">
                  <c:v>140.62069144923385</c:v>
                </c:pt>
                <c:pt idx="922">
                  <c:v>141.09414427304179</c:v>
                </c:pt>
                <c:pt idx="923">
                  <c:v>139.04685101844382</c:v>
                </c:pt>
                <c:pt idx="924">
                  <c:v>137.44439530709397</c:v>
                </c:pt>
                <c:pt idx="925">
                  <c:v>139.19513019952655</c:v>
                </c:pt>
                <c:pt idx="926">
                  <c:v>139.11188574698886</c:v>
                </c:pt>
                <c:pt idx="927">
                  <c:v>137.47040919851202</c:v>
                </c:pt>
                <c:pt idx="928">
                  <c:v>137.08020082724175</c:v>
                </c:pt>
                <c:pt idx="929">
                  <c:v>137.00215915298767</c:v>
                </c:pt>
                <c:pt idx="930">
                  <c:v>137.29351473686947</c:v>
                </c:pt>
                <c:pt idx="931">
                  <c:v>138.29244816732134</c:v>
                </c:pt>
                <c:pt idx="932">
                  <c:v>138.1857912125075</c:v>
                </c:pt>
                <c:pt idx="933">
                  <c:v>137.88923285034207</c:v>
                </c:pt>
                <c:pt idx="934">
                  <c:v>133.80505189771335</c:v>
                </c:pt>
                <c:pt idx="935">
                  <c:v>132.26502952576675</c:v>
                </c:pt>
                <c:pt idx="936">
                  <c:v>130.0694570900861</c:v>
                </c:pt>
                <c:pt idx="937">
                  <c:v>131.96847116360135</c:v>
                </c:pt>
                <c:pt idx="938">
                  <c:v>134.27590333237947</c:v>
                </c:pt>
                <c:pt idx="939">
                  <c:v>135.16037564059209</c:v>
                </c:pt>
                <c:pt idx="940">
                  <c:v>134.50742696599983</c:v>
                </c:pt>
                <c:pt idx="941">
                  <c:v>136.05785489451364</c:v>
                </c:pt>
                <c:pt idx="942">
                  <c:v>135.5115631747353</c:v>
                </c:pt>
                <c:pt idx="943">
                  <c:v>134.75455893447099</c:v>
                </c:pt>
                <c:pt idx="944">
                  <c:v>137.91524674176009</c:v>
                </c:pt>
                <c:pt idx="945">
                  <c:v>136.1020785099243</c:v>
                </c:pt>
                <c:pt idx="946">
                  <c:v>138.02190369657396</c:v>
                </c:pt>
                <c:pt idx="947">
                  <c:v>139.06506074243646</c:v>
                </c:pt>
                <c:pt idx="948">
                  <c:v>139.20293436695195</c:v>
                </c:pt>
                <c:pt idx="949">
                  <c:v>140.00676361176869</c:v>
                </c:pt>
                <c:pt idx="950">
                  <c:v>139.84287609583518</c:v>
                </c:pt>
                <c:pt idx="951">
                  <c:v>140.43079004188237</c:v>
                </c:pt>
                <c:pt idx="952">
                  <c:v>139.45526911370672</c:v>
                </c:pt>
                <c:pt idx="953">
                  <c:v>140.27990947165785</c:v>
                </c:pt>
                <c:pt idx="954">
                  <c:v>141.56239431856611</c:v>
                </c:pt>
                <c:pt idx="955">
                  <c:v>141.60661793397674</c:v>
                </c:pt>
                <c:pt idx="956">
                  <c:v>141.81733045446268</c:v>
                </c:pt>
                <c:pt idx="957">
                  <c:v>141.41671652662521</c:v>
                </c:pt>
                <c:pt idx="958">
                  <c:v>142.20753882573291</c:v>
                </c:pt>
                <c:pt idx="959">
                  <c:v>141.51556931401367</c:v>
                </c:pt>
                <c:pt idx="960">
                  <c:v>141.17478733643767</c:v>
                </c:pt>
                <c:pt idx="961">
                  <c:v>141.24762623240809</c:v>
                </c:pt>
                <c:pt idx="962">
                  <c:v>141.42452069405061</c:v>
                </c:pt>
                <c:pt idx="963">
                  <c:v>141.51036653573007</c:v>
                </c:pt>
                <c:pt idx="964">
                  <c:v>143.26630420644625</c:v>
                </c:pt>
                <c:pt idx="965">
                  <c:v>143.67212091256729</c:v>
                </c:pt>
                <c:pt idx="966">
                  <c:v>143.95046955074008</c:v>
                </c:pt>
                <c:pt idx="967">
                  <c:v>143.36515699383469</c:v>
                </c:pt>
                <c:pt idx="968">
                  <c:v>143.15444447334875</c:v>
                </c:pt>
                <c:pt idx="969">
                  <c:v>143.79698759137378</c:v>
                </c:pt>
                <c:pt idx="970">
                  <c:v>144.62683072760854</c:v>
                </c:pt>
                <c:pt idx="971">
                  <c:v>144.70227101272079</c:v>
                </c:pt>
                <c:pt idx="972">
                  <c:v>145.51130303582113</c:v>
                </c:pt>
                <c:pt idx="973">
                  <c:v>146.02897947503968</c:v>
                </c:pt>
                <c:pt idx="974">
                  <c:v>144.48375432480941</c:v>
                </c:pt>
                <c:pt idx="975">
                  <c:v>144.96761270518454</c:v>
                </c:pt>
                <c:pt idx="976">
                  <c:v>144.21320985406206</c:v>
                </c:pt>
                <c:pt idx="977">
                  <c:v>143.01917223797506</c:v>
                </c:pt>
                <c:pt idx="978">
                  <c:v>142.31679716968861</c:v>
                </c:pt>
                <c:pt idx="979">
                  <c:v>143.70333758226892</c:v>
                </c:pt>
                <c:pt idx="980">
                  <c:v>144.26003485861446</c:v>
                </c:pt>
                <c:pt idx="981">
                  <c:v>144.15077651465882</c:v>
                </c:pt>
                <c:pt idx="982">
                  <c:v>141.5571915402825</c:v>
                </c:pt>
                <c:pt idx="983">
                  <c:v>141.05252204677296</c:v>
                </c:pt>
                <c:pt idx="984">
                  <c:v>142.11128742748627</c:v>
                </c:pt>
                <c:pt idx="985">
                  <c:v>140.78197757602558</c:v>
                </c:pt>
                <c:pt idx="986">
                  <c:v>143.44059727894694</c:v>
                </c:pt>
                <c:pt idx="987">
                  <c:v>142.8995083374522</c:v>
                </c:pt>
                <c:pt idx="988">
                  <c:v>143.1960666996176</c:v>
                </c:pt>
                <c:pt idx="989">
                  <c:v>144.25483208033089</c:v>
                </c:pt>
                <c:pt idx="990">
                  <c:v>144.98061965089357</c:v>
                </c:pt>
                <c:pt idx="991">
                  <c:v>144.86095575037069</c:v>
                </c:pt>
                <c:pt idx="992">
                  <c:v>146.73655732160975</c:v>
                </c:pt>
                <c:pt idx="993">
                  <c:v>147.25423376082827</c:v>
                </c:pt>
                <c:pt idx="994">
                  <c:v>147.19180042142503</c:v>
                </c:pt>
                <c:pt idx="995">
                  <c:v>147.53258239900106</c:v>
                </c:pt>
                <c:pt idx="996">
                  <c:v>148.46908249004969</c:v>
                </c:pt>
                <c:pt idx="997">
                  <c:v>147.77451158918859</c:v>
                </c:pt>
                <c:pt idx="998">
                  <c:v>148.40664915064644</c:v>
                </c:pt>
                <c:pt idx="999">
                  <c:v>149.24429645430658</c:v>
                </c:pt>
                <c:pt idx="1000">
                  <c:v>148.84368252646911</c:v>
                </c:pt>
                <c:pt idx="1001">
                  <c:v>148.12309773419003</c:v>
                </c:pt>
                <c:pt idx="1002">
                  <c:v>148.41705470721362</c:v>
                </c:pt>
                <c:pt idx="1003">
                  <c:v>148.34681720038498</c:v>
                </c:pt>
                <c:pt idx="1004">
                  <c:v>148.34681720038498</c:v>
                </c:pt>
                <c:pt idx="1005">
                  <c:v>147.95140605083114</c:v>
                </c:pt>
                <c:pt idx="1006">
                  <c:v>147.1423740277308</c:v>
                </c:pt>
                <c:pt idx="1007">
                  <c:v>148.28178247183993</c:v>
                </c:pt>
                <c:pt idx="1008">
                  <c:v>147.31146432194791</c:v>
                </c:pt>
                <c:pt idx="1009">
                  <c:v>146.72615176504252</c:v>
                </c:pt>
                <c:pt idx="1010">
                  <c:v>146.88743789183422</c:v>
                </c:pt>
                <c:pt idx="1011">
                  <c:v>146.55185869254183</c:v>
                </c:pt>
                <c:pt idx="1012">
                  <c:v>145.44106552899248</c:v>
                </c:pt>
                <c:pt idx="1013">
                  <c:v>144.66325017559376</c:v>
                </c:pt>
                <c:pt idx="1014">
                  <c:v>147.10335319060377</c:v>
                </c:pt>
                <c:pt idx="1015">
                  <c:v>147.73549075206159</c:v>
                </c:pt>
                <c:pt idx="1016">
                  <c:v>148.02164355765979</c:v>
                </c:pt>
                <c:pt idx="1017">
                  <c:v>149.25730340001559</c:v>
                </c:pt>
                <c:pt idx="1018">
                  <c:v>149.63190343643507</c:v>
                </c:pt>
                <c:pt idx="1019">
                  <c:v>149.83741317863741</c:v>
                </c:pt>
                <c:pt idx="1020">
                  <c:v>151.02104523815717</c:v>
                </c:pt>
                <c:pt idx="1021">
                  <c:v>151.53351889909209</c:v>
                </c:pt>
                <c:pt idx="1022">
                  <c:v>152.20988007596054</c:v>
                </c:pt>
                <c:pt idx="1023">
                  <c:v>151.32020498946437</c:v>
                </c:pt>
                <c:pt idx="1024">
                  <c:v>151.97575505319841</c:v>
                </c:pt>
                <c:pt idx="1025">
                  <c:v>151.84048281782472</c:v>
                </c:pt>
                <c:pt idx="1026">
                  <c:v>151.55693140136833</c:v>
                </c:pt>
                <c:pt idx="1027">
                  <c:v>152.16045368226631</c:v>
                </c:pt>
                <c:pt idx="1028">
                  <c:v>152.18126479540072</c:v>
                </c:pt>
                <c:pt idx="1029">
                  <c:v>152.92786347909782</c:v>
                </c:pt>
                <c:pt idx="1030">
                  <c:v>152.51424260555135</c:v>
                </c:pt>
                <c:pt idx="1031">
                  <c:v>152.98769542935929</c:v>
                </c:pt>
                <c:pt idx="1032">
                  <c:v>152.70154262376107</c:v>
                </c:pt>
                <c:pt idx="1033">
                  <c:v>153.43253297260736</c:v>
                </c:pt>
                <c:pt idx="1034">
                  <c:v>153.41952602689835</c:v>
                </c:pt>
                <c:pt idx="1035">
                  <c:v>153.17759683671079</c:v>
                </c:pt>
                <c:pt idx="1036">
                  <c:v>153.58601493197366</c:v>
                </c:pt>
                <c:pt idx="1037">
                  <c:v>152.68853567805206</c:v>
                </c:pt>
                <c:pt idx="1038">
                  <c:v>151.87690226580995</c:v>
                </c:pt>
                <c:pt idx="1039">
                  <c:v>153.11516349730755</c:v>
                </c:pt>
                <c:pt idx="1040">
                  <c:v>153.40391769204754</c:v>
                </c:pt>
                <c:pt idx="1041">
                  <c:v>154.21555110428969</c:v>
                </c:pt>
                <c:pt idx="1042">
                  <c:v>153.20100933898701</c:v>
                </c:pt>
                <c:pt idx="1043">
                  <c:v>153.41952602689835</c:v>
                </c:pt>
                <c:pt idx="1044">
                  <c:v>153.1854010041362</c:v>
                </c:pt>
                <c:pt idx="1045">
                  <c:v>153.35449129835331</c:v>
                </c:pt>
                <c:pt idx="1046">
                  <c:v>154.02044691865459</c:v>
                </c:pt>
                <c:pt idx="1047">
                  <c:v>153.10215655159854</c:v>
                </c:pt>
                <c:pt idx="1048">
                  <c:v>153.96321635753492</c:v>
                </c:pt>
                <c:pt idx="1049">
                  <c:v>154.51471085559689</c:v>
                </c:pt>
                <c:pt idx="1050">
                  <c:v>154.49910252074605</c:v>
                </c:pt>
                <c:pt idx="1051">
                  <c:v>153.99703441637834</c:v>
                </c:pt>
                <c:pt idx="1052">
                  <c:v>151.64017585390596</c:v>
                </c:pt>
                <c:pt idx="1053">
                  <c:v>150.77391326968601</c:v>
                </c:pt>
                <c:pt idx="1054">
                  <c:v>149.43419786165813</c:v>
                </c:pt>
                <c:pt idx="1055">
                  <c:v>150.43573268125178</c:v>
                </c:pt>
                <c:pt idx="1056">
                  <c:v>150.74789937826799</c:v>
                </c:pt>
                <c:pt idx="1057">
                  <c:v>149.68393121927107</c:v>
                </c:pt>
                <c:pt idx="1058">
                  <c:v>148.92432558986499</c:v>
                </c:pt>
                <c:pt idx="1059">
                  <c:v>147.47275044873962</c:v>
                </c:pt>
                <c:pt idx="1060">
                  <c:v>147.23602403683566</c:v>
                </c:pt>
                <c:pt idx="1061">
                  <c:v>149.10902421893292</c:v>
                </c:pt>
                <c:pt idx="1062">
                  <c:v>148.00343383366717</c:v>
                </c:pt>
                <c:pt idx="1063">
                  <c:v>149.28591868057541</c:v>
                </c:pt>
                <c:pt idx="1064">
                  <c:v>151.87950365495175</c:v>
                </c:pt>
                <c:pt idx="1065">
                  <c:v>152.68853567805206</c:v>
                </c:pt>
                <c:pt idx="1066">
                  <c:v>153.77591633932519</c:v>
                </c:pt>
                <c:pt idx="1067">
                  <c:v>154.16612471059545</c:v>
                </c:pt>
                <c:pt idx="1068">
                  <c:v>155.81280403735596</c:v>
                </c:pt>
                <c:pt idx="1069">
                  <c:v>155.55266512317579</c:v>
                </c:pt>
                <c:pt idx="1070">
                  <c:v>156.09375406467052</c:v>
                </c:pt>
                <c:pt idx="1071">
                  <c:v>154.93873728571057</c:v>
                </c:pt>
                <c:pt idx="1072">
                  <c:v>155.80499986993053</c:v>
                </c:pt>
                <c:pt idx="1073">
                  <c:v>155.49023178377251</c:v>
                </c:pt>
                <c:pt idx="1074">
                  <c:v>156.64264717359069</c:v>
                </c:pt>
                <c:pt idx="1075">
                  <c:v>156.8117374678078</c:v>
                </c:pt>
                <c:pt idx="1076">
                  <c:v>156.17439712806637</c:v>
                </c:pt>
                <c:pt idx="1077">
                  <c:v>156.90798886605447</c:v>
                </c:pt>
                <c:pt idx="1078">
                  <c:v>157.28258890247392</c:v>
                </c:pt>
                <c:pt idx="1079">
                  <c:v>157.52451809266145</c:v>
                </c:pt>
                <c:pt idx="1080">
                  <c:v>159.14258213886214</c:v>
                </c:pt>
                <c:pt idx="1081">
                  <c:v>158.89545017039097</c:v>
                </c:pt>
                <c:pt idx="1082">
                  <c:v>159.76431414375273</c:v>
                </c:pt>
                <c:pt idx="1083">
                  <c:v>159.61343357352825</c:v>
                </c:pt>
                <c:pt idx="1084">
                  <c:v>159.74090164147651</c:v>
                </c:pt>
                <c:pt idx="1085">
                  <c:v>159.89958637912642</c:v>
                </c:pt>
                <c:pt idx="1086">
                  <c:v>158.2945292786348</c:v>
                </c:pt>
                <c:pt idx="1087">
                  <c:v>154.51991363388049</c:v>
                </c:pt>
                <c:pt idx="1088">
                  <c:v>153.22182045212142</c:v>
                </c:pt>
                <c:pt idx="1089">
                  <c:v>154.26757888712569</c:v>
                </c:pt>
                <c:pt idx="1090">
                  <c:v>153.43773575089097</c:v>
                </c:pt>
                <c:pt idx="1091">
                  <c:v>153.88517468328084</c:v>
                </c:pt>
                <c:pt idx="1092">
                  <c:v>153.50797325771961</c:v>
                </c:pt>
                <c:pt idx="1093">
                  <c:v>151.45547722483806</c:v>
                </c:pt>
                <c:pt idx="1094">
                  <c:v>151.15631747353083</c:v>
                </c:pt>
                <c:pt idx="1095">
                  <c:v>151.39564527457662</c:v>
                </c:pt>
                <c:pt idx="1096">
                  <c:v>153.64844827137688</c:v>
                </c:pt>
                <c:pt idx="1097">
                  <c:v>154.75143726750082</c:v>
                </c:pt>
                <c:pt idx="1098">
                  <c:v>154.85029005488931</c:v>
                </c:pt>
                <c:pt idx="1099">
                  <c:v>156.85856247236023</c:v>
                </c:pt>
                <c:pt idx="1100">
                  <c:v>158.09682370385784</c:v>
                </c:pt>
                <c:pt idx="1101">
                  <c:v>157.84969173538667</c:v>
                </c:pt>
                <c:pt idx="1102">
                  <c:v>158.72896126531566</c:v>
                </c:pt>
                <c:pt idx="1103">
                  <c:v>159.31687521136283</c:v>
                </c:pt>
                <c:pt idx="1104">
                  <c:v>159.33768632449727</c:v>
                </c:pt>
                <c:pt idx="1105">
                  <c:v>159.60562940610282</c:v>
                </c:pt>
                <c:pt idx="1106">
                  <c:v>159.5275877318488</c:v>
                </c:pt>
                <c:pt idx="1107">
                  <c:v>160.15192112588122</c:v>
                </c:pt>
                <c:pt idx="1108">
                  <c:v>161.15345594547489</c:v>
                </c:pt>
                <c:pt idx="1109">
                  <c:v>161.25230873286333</c:v>
                </c:pt>
                <c:pt idx="1110">
                  <c:v>160.94014203584712</c:v>
                </c:pt>
                <c:pt idx="1111">
                  <c:v>160.79186285476445</c:v>
                </c:pt>
                <c:pt idx="1112">
                  <c:v>161.1768684477511</c:v>
                </c:pt>
                <c:pt idx="1113">
                  <c:v>157.52451809266145</c:v>
                </c:pt>
                <c:pt idx="1114">
                  <c:v>160.76584896334643</c:v>
                </c:pt>
                <c:pt idx="1115">
                  <c:v>160.78405868733904</c:v>
                </c:pt>
                <c:pt idx="1116">
                  <c:v>160.95575037069793</c:v>
                </c:pt>
                <c:pt idx="1117">
                  <c:v>158.94747795322701</c:v>
                </c:pt>
                <c:pt idx="1118">
                  <c:v>158.15665565411931</c:v>
                </c:pt>
                <c:pt idx="1119">
                  <c:v>158.1982778803881</c:v>
                </c:pt>
                <c:pt idx="1120">
                  <c:v>156.64784995187429</c:v>
                </c:pt>
                <c:pt idx="1121">
                  <c:v>155.00637340339739</c:v>
                </c:pt>
                <c:pt idx="1122">
                  <c:v>153.91899274212426</c:v>
                </c:pt>
                <c:pt idx="1123">
                  <c:v>155.64111235399702</c:v>
                </c:pt>
                <c:pt idx="1124">
                  <c:v>156.64524856273246</c:v>
                </c:pt>
                <c:pt idx="1125">
                  <c:v>156.52558466220964</c:v>
                </c:pt>
                <c:pt idx="1126">
                  <c:v>156.56460549933664</c:v>
                </c:pt>
                <c:pt idx="1127">
                  <c:v>156.72849301527015</c:v>
                </c:pt>
                <c:pt idx="1128">
                  <c:v>155.07921229936784</c:v>
                </c:pt>
                <c:pt idx="1129">
                  <c:v>157.07707916027158</c:v>
                </c:pt>
                <c:pt idx="1130">
                  <c:v>158.24250149579873</c:v>
                </c:pt>
                <c:pt idx="1131">
                  <c:v>158.48443068598633</c:v>
                </c:pt>
                <c:pt idx="1132">
                  <c:v>159.61863635181186</c:v>
                </c:pt>
                <c:pt idx="1133">
                  <c:v>159.90478915741008</c:v>
                </c:pt>
                <c:pt idx="1134">
                  <c:v>160.88811425301111</c:v>
                </c:pt>
                <c:pt idx="1135">
                  <c:v>161.18987539346011</c:v>
                </c:pt>
                <c:pt idx="1136">
                  <c:v>161.36937124424441</c:v>
                </c:pt>
                <c:pt idx="1137">
                  <c:v>162.34749356156189</c:v>
                </c:pt>
                <c:pt idx="1138">
                  <c:v>160.33922114409094</c:v>
                </c:pt>
                <c:pt idx="1139">
                  <c:v>159.82934887229777</c:v>
                </c:pt>
                <c:pt idx="1140">
                  <c:v>160.48489893603181</c:v>
                </c:pt>
                <c:pt idx="1141">
                  <c:v>159.6862724694987</c:v>
                </c:pt>
                <c:pt idx="1142">
                  <c:v>157.47769308810905</c:v>
                </c:pt>
                <c:pt idx="1143">
                  <c:v>158.11503342785045</c:v>
                </c:pt>
                <c:pt idx="1144">
                  <c:v>156.59842355818006</c:v>
                </c:pt>
                <c:pt idx="1145">
                  <c:v>158.65872375848701</c:v>
                </c:pt>
                <c:pt idx="1146">
                  <c:v>159.45474883587835</c:v>
                </c:pt>
                <c:pt idx="1147">
                  <c:v>161.68934210868602</c:v>
                </c:pt>
                <c:pt idx="1148">
                  <c:v>160.80747118961523</c:v>
                </c:pt>
                <c:pt idx="1149">
                  <c:v>161.34856013111002</c:v>
                </c:pt>
                <c:pt idx="1150">
                  <c:v>160.1337114018886</c:v>
                </c:pt>
                <c:pt idx="1151">
                  <c:v>160.44847948804659</c:v>
                </c:pt>
                <c:pt idx="1152">
                  <c:v>162.38391300954709</c:v>
                </c:pt>
                <c:pt idx="1153">
                  <c:v>162.40732551182327</c:v>
                </c:pt>
                <c:pt idx="1154">
                  <c:v>162.69607970656327</c:v>
                </c:pt>
                <c:pt idx="1155">
                  <c:v>162.44634634895036</c:v>
                </c:pt>
                <c:pt idx="1156">
                  <c:v>162.14978798678493</c:v>
                </c:pt>
                <c:pt idx="1157">
                  <c:v>161.74397128066386</c:v>
                </c:pt>
                <c:pt idx="1158">
                  <c:v>161.85583101376136</c:v>
                </c:pt>
                <c:pt idx="1159">
                  <c:v>163.62477563018652</c:v>
                </c:pt>
                <c:pt idx="1160">
                  <c:v>163.15652558466221</c:v>
                </c:pt>
                <c:pt idx="1161">
                  <c:v>164.43120626414503</c:v>
                </c:pt>
                <c:pt idx="1162">
                  <c:v>164.90726047709475</c:v>
                </c:pt>
                <c:pt idx="1163">
                  <c:v>164.89945630966935</c:v>
                </c:pt>
                <c:pt idx="1164">
                  <c:v>163.44007700111857</c:v>
                </c:pt>
                <c:pt idx="1165">
                  <c:v>163.75744647641838</c:v>
                </c:pt>
                <c:pt idx="1166">
                  <c:v>163.61697146276111</c:v>
                </c:pt>
                <c:pt idx="1167">
                  <c:v>163.56234229078325</c:v>
                </c:pt>
                <c:pt idx="1168">
                  <c:v>164.59509378007854</c:v>
                </c:pt>
                <c:pt idx="1169">
                  <c:v>164.94367992507998</c:v>
                </c:pt>
                <c:pt idx="1170">
                  <c:v>165.33128690720841</c:v>
                </c:pt>
                <c:pt idx="1171">
                  <c:v>166.28079394396607</c:v>
                </c:pt>
                <c:pt idx="1172">
                  <c:v>166.67620509351994</c:v>
                </c:pt>
                <c:pt idx="1173">
                  <c:v>166.63198147810928</c:v>
                </c:pt>
                <c:pt idx="1174">
                  <c:v>166.75424676777396</c:v>
                </c:pt>
                <c:pt idx="1175">
                  <c:v>166.63198147810928</c:v>
                </c:pt>
                <c:pt idx="1176">
                  <c:v>167.08462318878279</c:v>
                </c:pt>
                <c:pt idx="1177">
                  <c:v>166.3172133919513</c:v>
                </c:pt>
                <c:pt idx="1178">
                  <c:v>166.40305923363076</c:v>
                </c:pt>
                <c:pt idx="1179">
                  <c:v>167.09502874535002</c:v>
                </c:pt>
                <c:pt idx="1180">
                  <c:v>168.21362607632474</c:v>
                </c:pt>
                <c:pt idx="1181">
                  <c:v>168.85356780520797</c:v>
                </c:pt>
                <c:pt idx="1182">
                  <c:v>169.39205535756093</c:v>
                </c:pt>
                <c:pt idx="1183">
                  <c:v>168.51278582763194</c:v>
                </c:pt>
                <c:pt idx="1184">
                  <c:v>168.5570094430426</c:v>
                </c:pt>
                <c:pt idx="1185">
                  <c:v>168.19021357404853</c:v>
                </c:pt>
                <c:pt idx="1186">
                  <c:v>167.43841211206782</c:v>
                </c:pt>
                <c:pt idx="1187">
                  <c:v>167.87804687703235</c:v>
                </c:pt>
                <c:pt idx="1188">
                  <c:v>167.75578158736764</c:v>
                </c:pt>
                <c:pt idx="1189">
                  <c:v>168.74691085039407</c:v>
                </c:pt>
                <c:pt idx="1190">
                  <c:v>168.72089695897608</c:v>
                </c:pt>
                <c:pt idx="1191">
                  <c:v>167.87804687703235</c:v>
                </c:pt>
                <c:pt idx="1192">
                  <c:v>167.5164537863219</c:v>
                </c:pt>
                <c:pt idx="1193">
                  <c:v>165.78653000702371</c:v>
                </c:pt>
                <c:pt idx="1194">
                  <c:v>165.74750916989672</c:v>
                </c:pt>
                <c:pt idx="1195">
                  <c:v>165.80994250929996</c:v>
                </c:pt>
                <c:pt idx="1196">
                  <c:v>165.76051611560572</c:v>
                </c:pt>
                <c:pt idx="1197">
                  <c:v>167.24330792643269</c:v>
                </c:pt>
                <c:pt idx="1198">
                  <c:v>167.64132046512836</c:v>
                </c:pt>
                <c:pt idx="1199">
                  <c:v>169.23337061991103</c:v>
                </c:pt>
                <c:pt idx="1200">
                  <c:v>168.76512057438671</c:v>
                </c:pt>
                <c:pt idx="1201">
                  <c:v>167.23810514814909</c:v>
                </c:pt>
                <c:pt idx="1202">
                  <c:v>164.90465908795295</c:v>
                </c:pt>
                <c:pt idx="1203">
                  <c:v>164.89945630966935</c:v>
                </c:pt>
                <c:pt idx="1204">
                  <c:v>163.16432975208761</c:v>
                </c:pt>
                <c:pt idx="1205">
                  <c:v>163.42707005540959</c:v>
                </c:pt>
                <c:pt idx="1206">
                  <c:v>164.8266174136989</c:v>
                </c:pt>
                <c:pt idx="1207">
                  <c:v>164.19187846309927</c:v>
                </c:pt>
                <c:pt idx="1208">
                  <c:v>166.41346479019796</c:v>
                </c:pt>
                <c:pt idx="1209">
                  <c:v>164.84742852683334</c:v>
                </c:pt>
                <c:pt idx="1210">
                  <c:v>164.80840768970629</c:v>
                </c:pt>
                <c:pt idx="1211">
                  <c:v>163.97856455347156</c:v>
                </c:pt>
                <c:pt idx="1212">
                  <c:v>166.15592726515959</c:v>
                </c:pt>
                <c:pt idx="1213">
                  <c:v>166.37704534221274</c:v>
                </c:pt>
                <c:pt idx="1214">
                  <c:v>167.09242735620822</c:v>
                </c:pt>
                <c:pt idx="1215">
                  <c:v>165.93741057724824</c:v>
                </c:pt>
                <c:pt idx="1216">
                  <c:v>165.64085221508284</c:v>
                </c:pt>
                <c:pt idx="1217">
                  <c:v>166.09609531489815</c:v>
                </c:pt>
                <c:pt idx="1218">
                  <c:v>165.20902161754375</c:v>
                </c:pt>
                <c:pt idx="1219">
                  <c:v>163.04986862984831</c:v>
                </c:pt>
                <c:pt idx="1220">
                  <c:v>161.0702114929372</c:v>
                </c:pt>
                <c:pt idx="1221">
                  <c:v>160.70601701308499</c:v>
                </c:pt>
                <c:pt idx="1222">
                  <c:v>161.16386150204207</c:v>
                </c:pt>
                <c:pt idx="1223">
                  <c:v>159.87877526599203</c:v>
                </c:pt>
                <c:pt idx="1224">
                  <c:v>158.79659738300248</c:v>
                </c:pt>
                <c:pt idx="1225">
                  <c:v>157.80026534169247</c:v>
                </c:pt>
                <c:pt idx="1226">
                  <c:v>159.96201971852969</c:v>
                </c:pt>
                <c:pt idx="1227">
                  <c:v>159.66285996722249</c:v>
                </c:pt>
                <c:pt idx="1228">
                  <c:v>160.4328711531958</c:v>
                </c:pt>
                <c:pt idx="1229">
                  <c:v>160.92973647927994</c:v>
                </c:pt>
                <c:pt idx="1230">
                  <c:v>160.28719336125491</c:v>
                </c:pt>
                <c:pt idx="1231">
                  <c:v>162.17580187820292</c:v>
                </c:pt>
                <c:pt idx="1232">
                  <c:v>163.09409224525896</c:v>
                </c:pt>
                <c:pt idx="1233">
                  <c:v>163.08108529954995</c:v>
                </c:pt>
                <c:pt idx="1234">
                  <c:v>164.15806040425585</c:v>
                </c:pt>
                <c:pt idx="1235">
                  <c:v>163.7938659244036</c:v>
                </c:pt>
                <c:pt idx="1236">
                  <c:v>165.59662859967224</c:v>
                </c:pt>
                <c:pt idx="1237">
                  <c:v>166.81407871803543</c:v>
                </c:pt>
                <c:pt idx="1238">
                  <c:v>167.01438568195414</c:v>
                </c:pt>
                <c:pt idx="1239">
                  <c:v>165.90359251840482</c:v>
                </c:pt>
                <c:pt idx="1240">
                  <c:v>166.36663978564553</c:v>
                </c:pt>
                <c:pt idx="1241">
                  <c:v>166.78806482661739</c:v>
                </c:pt>
                <c:pt idx="1242">
                  <c:v>166.73343565463958</c:v>
                </c:pt>
                <c:pt idx="1243">
                  <c:v>167.8520329856143</c:v>
                </c:pt>
                <c:pt idx="1244">
                  <c:v>169.76925678312219</c:v>
                </c:pt>
                <c:pt idx="1245">
                  <c:v>169.12671366509716</c:v>
                </c:pt>
              </c:numCache>
            </c:numRef>
          </c:val>
          <c:smooth val="0"/>
        </c:ser>
        <c:ser>
          <c:idx val="2"/>
          <c:order val="2"/>
          <c:tx>
            <c:strRef>
              <c:f>Sheet1!$D$1</c:f>
              <c:strCache>
                <c:ptCount val="1"/>
              </c:strCache>
            </c:strRef>
          </c:tx>
          <c:spPr>
            <a:ln w="12700">
              <a:solidFill>
                <a:srgbClr val="665C8C"/>
              </a:solidFill>
            </a:ln>
          </c:spPr>
          <c:marker>
            <c:symbol val="none"/>
          </c:marker>
          <c:cat>
            <c:numRef>
              <c:f>Sheet1!$A$2:$A$1247</c:f>
              <c:numCache>
                <c:formatCode>m/d/yyyy</c:formatCode>
                <c:ptCount val="1246"/>
                <c:pt idx="0">
                  <c:v>40119</c:v>
                </c:pt>
                <c:pt idx="1">
                  <c:v>40120</c:v>
                </c:pt>
                <c:pt idx="2">
                  <c:v>40121</c:v>
                </c:pt>
                <c:pt idx="3">
                  <c:v>40122</c:v>
                </c:pt>
                <c:pt idx="4">
                  <c:v>40123</c:v>
                </c:pt>
                <c:pt idx="5">
                  <c:v>40126</c:v>
                </c:pt>
                <c:pt idx="6">
                  <c:v>40127</c:v>
                </c:pt>
                <c:pt idx="7">
                  <c:v>40128</c:v>
                </c:pt>
                <c:pt idx="8">
                  <c:v>40129</c:v>
                </c:pt>
                <c:pt idx="9">
                  <c:v>40130</c:v>
                </c:pt>
                <c:pt idx="10">
                  <c:v>40133</c:v>
                </c:pt>
                <c:pt idx="11">
                  <c:v>40134</c:v>
                </c:pt>
                <c:pt idx="12">
                  <c:v>40135</c:v>
                </c:pt>
                <c:pt idx="13">
                  <c:v>40136</c:v>
                </c:pt>
                <c:pt idx="14">
                  <c:v>40137</c:v>
                </c:pt>
                <c:pt idx="15">
                  <c:v>40140</c:v>
                </c:pt>
                <c:pt idx="16">
                  <c:v>40141</c:v>
                </c:pt>
                <c:pt idx="17">
                  <c:v>40142</c:v>
                </c:pt>
                <c:pt idx="18">
                  <c:v>40143</c:v>
                </c:pt>
                <c:pt idx="19">
                  <c:v>40144</c:v>
                </c:pt>
                <c:pt idx="20">
                  <c:v>40147</c:v>
                </c:pt>
                <c:pt idx="21">
                  <c:v>40148</c:v>
                </c:pt>
                <c:pt idx="22">
                  <c:v>40149</c:v>
                </c:pt>
                <c:pt idx="23">
                  <c:v>40150</c:v>
                </c:pt>
                <c:pt idx="24">
                  <c:v>40151</c:v>
                </c:pt>
                <c:pt idx="25">
                  <c:v>40154</c:v>
                </c:pt>
                <c:pt idx="26">
                  <c:v>40155</c:v>
                </c:pt>
                <c:pt idx="27">
                  <c:v>40156</c:v>
                </c:pt>
                <c:pt idx="28">
                  <c:v>40157</c:v>
                </c:pt>
                <c:pt idx="29">
                  <c:v>40158</c:v>
                </c:pt>
                <c:pt idx="30">
                  <c:v>40161</c:v>
                </c:pt>
                <c:pt idx="31">
                  <c:v>40162</c:v>
                </c:pt>
                <c:pt idx="32">
                  <c:v>40163</c:v>
                </c:pt>
                <c:pt idx="33">
                  <c:v>40164</c:v>
                </c:pt>
                <c:pt idx="34">
                  <c:v>40165</c:v>
                </c:pt>
                <c:pt idx="35">
                  <c:v>40168</c:v>
                </c:pt>
                <c:pt idx="36">
                  <c:v>40169</c:v>
                </c:pt>
                <c:pt idx="37">
                  <c:v>40170</c:v>
                </c:pt>
                <c:pt idx="38">
                  <c:v>40171</c:v>
                </c:pt>
                <c:pt idx="39">
                  <c:v>40175</c:v>
                </c:pt>
                <c:pt idx="40">
                  <c:v>40176</c:v>
                </c:pt>
                <c:pt idx="41">
                  <c:v>40177</c:v>
                </c:pt>
                <c:pt idx="42">
                  <c:v>40178</c:v>
                </c:pt>
                <c:pt idx="43">
                  <c:v>40182</c:v>
                </c:pt>
                <c:pt idx="44">
                  <c:v>40183</c:v>
                </c:pt>
                <c:pt idx="45">
                  <c:v>40184</c:v>
                </c:pt>
                <c:pt idx="46">
                  <c:v>40185</c:v>
                </c:pt>
                <c:pt idx="47">
                  <c:v>40186</c:v>
                </c:pt>
                <c:pt idx="48">
                  <c:v>40189</c:v>
                </c:pt>
                <c:pt idx="49">
                  <c:v>40190</c:v>
                </c:pt>
                <c:pt idx="50">
                  <c:v>40191</c:v>
                </c:pt>
                <c:pt idx="51">
                  <c:v>40192</c:v>
                </c:pt>
                <c:pt idx="52">
                  <c:v>40193</c:v>
                </c:pt>
                <c:pt idx="53">
                  <c:v>40196</c:v>
                </c:pt>
                <c:pt idx="54">
                  <c:v>40197</c:v>
                </c:pt>
                <c:pt idx="55">
                  <c:v>40198</c:v>
                </c:pt>
                <c:pt idx="56">
                  <c:v>40199</c:v>
                </c:pt>
                <c:pt idx="57">
                  <c:v>40200</c:v>
                </c:pt>
                <c:pt idx="58">
                  <c:v>40203</c:v>
                </c:pt>
                <c:pt idx="59">
                  <c:v>40204</c:v>
                </c:pt>
                <c:pt idx="60">
                  <c:v>40205</c:v>
                </c:pt>
                <c:pt idx="61">
                  <c:v>40206</c:v>
                </c:pt>
                <c:pt idx="62">
                  <c:v>40207</c:v>
                </c:pt>
                <c:pt idx="63">
                  <c:v>40210</c:v>
                </c:pt>
                <c:pt idx="64">
                  <c:v>40211</c:v>
                </c:pt>
                <c:pt idx="65">
                  <c:v>40212</c:v>
                </c:pt>
                <c:pt idx="66">
                  <c:v>40213</c:v>
                </c:pt>
                <c:pt idx="67">
                  <c:v>40214</c:v>
                </c:pt>
                <c:pt idx="68">
                  <c:v>40217</c:v>
                </c:pt>
                <c:pt idx="69">
                  <c:v>40218</c:v>
                </c:pt>
                <c:pt idx="70">
                  <c:v>40219</c:v>
                </c:pt>
                <c:pt idx="71">
                  <c:v>40220</c:v>
                </c:pt>
                <c:pt idx="72">
                  <c:v>40221</c:v>
                </c:pt>
                <c:pt idx="73">
                  <c:v>40224</c:v>
                </c:pt>
                <c:pt idx="74">
                  <c:v>40225</c:v>
                </c:pt>
                <c:pt idx="75">
                  <c:v>40226</c:v>
                </c:pt>
                <c:pt idx="76">
                  <c:v>40227</c:v>
                </c:pt>
                <c:pt idx="77">
                  <c:v>40228</c:v>
                </c:pt>
                <c:pt idx="78">
                  <c:v>40231</c:v>
                </c:pt>
                <c:pt idx="79">
                  <c:v>40232</c:v>
                </c:pt>
                <c:pt idx="80">
                  <c:v>40233</c:v>
                </c:pt>
                <c:pt idx="81">
                  <c:v>40234</c:v>
                </c:pt>
                <c:pt idx="82">
                  <c:v>40235</c:v>
                </c:pt>
                <c:pt idx="83">
                  <c:v>40238</c:v>
                </c:pt>
                <c:pt idx="84">
                  <c:v>40239</c:v>
                </c:pt>
                <c:pt idx="85">
                  <c:v>40240</c:v>
                </c:pt>
                <c:pt idx="86">
                  <c:v>40241</c:v>
                </c:pt>
                <c:pt idx="87">
                  <c:v>40242</c:v>
                </c:pt>
                <c:pt idx="88">
                  <c:v>40245</c:v>
                </c:pt>
                <c:pt idx="89">
                  <c:v>40246</c:v>
                </c:pt>
                <c:pt idx="90">
                  <c:v>40247</c:v>
                </c:pt>
                <c:pt idx="91">
                  <c:v>40248</c:v>
                </c:pt>
                <c:pt idx="92">
                  <c:v>40249</c:v>
                </c:pt>
                <c:pt idx="93">
                  <c:v>40252</c:v>
                </c:pt>
                <c:pt idx="94">
                  <c:v>40253</c:v>
                </c:pt>
                <c:pt idx="95">
                  <c:v>40254</c:v>
                </c:pt>
                <c:pt idx="96">
                  <c:v>40255</c:v>
                </c:pt>
                <c:pt idx="97">
                  <c:v>40256</c:v>
                </c:pt>
                <c:pt idx="98">
                  <c:v>40259</c:v>
                </c:pt>
                <c:pt idx="99">
                  <c:v>40260</c:v>
                </c:pt>
                <c:pt idx="100">
                  <c:v>40261</c:v>
                </c:pt>
                <c:pt idx="101">
                  <c:v>40262</c:v>
                </c:pt>
                <c:pt idx="102">
                  <c:v>40263</c:v>
                </c:pt>
                <c:pt idx="103">
                  <c:v>40266</c:v>
                </c:pt>
                <c:pt idx="104">
                  <c:v>40267</c:v>
                </c:pt>
                <c:pt idx="105">
                  <c:v>40268</c:v>
                </c:pt>
                <c:pt idx="106">
                  <c:v>40269</c:v>
                </c:pt>
                <c:pt idx="107">
                  <c:v>40274</c:v>
                </c:pt>
                <c:pt idx="108">
                  <c:v>40275</c:v>
                </c:pt>
                <c:pt idx="109">
                  <c:v>40276</c:v>
                </c:pt>
                <c:pt idx="110">
                  <c:v>40277</c:v>
                </c:pt>
                <c:pt idx="111">
                  <c:v>40280</c:v>
                </c:pt>
                <c:pt idx="112">
                  <c:v>40281</c:v>
                </c:pt>
                <c:pt idx="113">
                  <c:v>40282</c:v>
                </c:pt>
                <c:pt idx="114">
                  <c:v>40283</c:v>
                </c:pt>
                <c:pt idx="115">
                  <c:v>40284</c:v>
                </c:pt>
                <c:pt idx="116">
                  <c:v>40287</c:v>
                </c:pt>
                <c:pt idx="117">
                  <c:v>40288</c:v>
                </c:pt>
                <c:pt idx="118">
                  <c:v>40289</c:v>
                </c:pt>
                <c:pt idx="119">
                  <c:v>40290</c:v>
                </c:pt>
                <c:pt idx="120">
                  <c:v>40291</c:v>
                </c:pt>
                <c:pt idx="121">
                  <c:v>40294</c:v>
                </c:pt>
                <c:pt idx="122">
                  <c:v>40295</c:v>
                </c:pt>
                <c:pt idx="123">
                  <c:v>40296</c:v>
                </c:pt>
                <c:pt idx="124">
                  <c:v>40297</c:v>
                </c:pt>
                <c:pt idx="125">
                  <c:v>40298</c:v>
                </c:pt>
                <c:pt idx="126">
                  <c:v>40301</c:v>
                </c:pt>
                <c:pt idx="127">
                  <c:v>40302</c:v>
                </c:pt>
                <c:pt idx="128">
                  <c:v>40303</c:v>
                </c:pt>
                <c:pt idx="129">
                  <c:v>40304</c:v>
                </c:pt>
                <c:pt idx="130">
                  <c:v>40305</c:v>
                </c:pt>
                <c:pt idx="131">
                  <c:v>40308</c:v>
                </c:pt>
                <c:pt idx="132">
                  <c:v>40309</c:v>
                </c:pt>
                <c:pt idx="133">
                  <c:v>40310</c:v>
                </c:pt>
                <c:pt idx="134">
                  <c:v>40311</c:v>
                </c:pt>
                <c:pt idx="135">
                  <c:v>40312</c:v>
                </c:pt>
                <c:pt idx="136">
                  <c:v>40315</c:v>
                </c:pt>
                <c:pt idx="137">
                  <c:v>40316</c:v>
                </c:pt>
                <c:pt idx="138">
                  <c:v>40317</c:v>
                </c:pt>
                <c:pt idx="139">
                  <c:v>40318</c:v>
                </c:pt>
                <c:pt idx="140">
                  <c:v>40319</c:v>
                </c:pt>
                <c:pt idx="141">
                  <c:v>40322</c:v>
                </c:pt>
                <c:pt idx="142">
                  <c:v>40323</c:v>
                </c:pt>
                <c:pt idx="143">
                  <c:v>40324</c:v>
                </c:pt>
                <c:pt idx="144">
                  <c:v>40325</c:v>
                </c:pt>
                <c:pt idx="145">
                  <c:v>40326</c:v>
                </c:pt>
                <c:pt idx="146">
                  <c:v>40329</c:v>
                </c:pt>
                <c:pt idx="147">
                  <c:v>40330</c:v>
                </c:pt>
                <c:pt idx="148">
                  <c:v>40331</c:v>
                </c:pt>
                <c:pt idx="149">
                  <c:v>40332</c:v>
                </c:pt>
                <c:pt idx="150">
                  <c:v>40333</c:v>
                </c:pt>
                <c:pt idx="151">
                  <c:v>40336</c:v>
                </c:pt>
                <c:pt idx="152">
                  <c:v>40337</c:v>
                </c:pt>
                <c:pt idx="153">
                  <c:v>40338</c:v>
                </c:pt>
                <c:pt idx="154">
                  <c:v>40339</c:v>
                </c:pt>
                <c:pt idx="155">
                  <c:v>40340</c:v>
                </c:pt>
                <c:pt idx="156">
                  <c:v>40343</c:v>
                </c:pt>
                <c:pt idx="157">
                  <c:v>40344</c:v>
                </c:pt>
                <c:pt idx="158">
                  <c:v>40345</c:v>
                </c:pt>
                <c:pt idx="159">
                  <c:v>40346</c:v>
                </c:pt>
                <c:pt idx="160">
                  <c:v>40347</c:v>
                </c:pt>
                <c:pt idx="161">
                  <c:v>40350</c:v>
                </c:pt>
                <c:pt idx="162">
                  <c:v>40351</c:v>
                </c:pt>
                <c:pt idx="163">
                  <c:v>40352</c:v>
                </c:pt>
                <c:pt idx="164">
                  <c:v>40353</c:v>
                </c:pt>
                <c:pt idx="165">
                  <c:v>40354</c:v>
                </c:pt>
                <c:pt idx="166">
                  <c:v>40357</c:v>
                </c:pt>
                <c:pt idx="167">
                  <c:v>40358</c:v>
                </c:pt>
                <c:pt idx="168">
                  <c:v>40359</c:v>
                </c:pt>
                <c:pt idx="169">
                  <c:v>40360</c:v>
                </c:pt>
                <c:pt idx="170">
                  <c:v>40361</c:v>
                </c:pt>
                <c:pt idx="171">
                  <c:v>40364</c:v>
                </c:pt>
                <c:pt idx="172">
                  <c:v>40365</c:v>
                </c:pt>
                <c:pt idx="173">
                  <c:v>40366</c:v>
                </c:pt>
                <c:pt idx="174">
                  <c:v>40367</c:v>
                </c:pt>
                <c:pt idx="175">
                  <c:v>40368</c:v>
                </c:pt>
                <c:pt idx="176">
                  <c:v>40371</c:v>
                </c:pt>
                <c:pt idx="177">
                  <c:v>40372</c:v>
                </c:pt>
                <c:pt idx="178">
                  <c:v>40373</c:v>
                </c:pt>
                <c:pt idx="179">
                  <c:v>40374</c:v>
                </c:pt>
                <c:pt idx="180">
                  <c:v>40375</c:v>
                </c:pt>
                <c:pt idx="181">
                  <c:v>40378</c:v>
                </c:pt>
                <c:pt idx="182">
                  <c:v>40379</c:v>
                </c:pt>
                <c:pt idx="183">
                  <c:v>40380</c:v>
                </c:pt>
                <c:pt idx="184">
                  <c:v>40381</c:v>
                </c:pt>
                <c:pt idx="185">
                  <c:v>40382</c:v>
                </c:pt>
                <c:pt idx="186">
                  <c:v>40385</c:v>
                </c:pt>
                <c:pt idx="187">
                  <c:v>40386</c:v>
                </c:pt>
                <c:pt idx="188">
                  <c:v>40387</c:v>
                </c:pt>
                <c:pt idx="189">
                  <c:v>40388</c:v>
                </c:pt>
                <c:pt idx="190">
                  <c:v>40389</c:v>
                </c:pt>
                <c:pt idx="191">
                  <c:v>40392</c:v>
                </c:pt>
                <c:pt idx="192">
                  <c:v>40393</c:v>
                </c:pt>
                <c:pt idx="193">
                  <c:v>40394</c:v>
                </c:pt>
                <c:pt idx="194">
                  <c:v>40395</c:v>
                </c:pt>
                <c:pt idx="195">
                  <c:v>40396</c:v>
                </c:pt>
                <c:pt idx="196">
                  <c:v>40399</c:v>
                </c:pt>
                <c:pt idx="197">
                  <c:v>40400</c:v>
                </c:pt>
                <c:pt idx="198">
                  <c:v>40401</c:v>
                </c:pt>
                <c:pt idx="199">
                  <c:v>40402</c:v>
                </c:pt>
                <c:pt idx="200">
                  <c:v>40403</c:v>
                </c:pt>
                <c:pt idx="201">
                  <c:v>40406</c:v>
                </c:pt>
                <c:pt idx="202">
                  <c:v>40407</c:v>
                </c:pt>
                <c:pt idx="203">
                  <c:v>40408</c:v>
                </c:pt>
                <c:pt idx="204">
                  <c:v>40409</c:v>
                </c:pt>
                <c:pt idx="205">
                  <c:v>40410</c:v>
                </c:pt>
                <c:pt idx="206">
                  <c:v>40413</c:v>
                </c:pt>
                <c:pt idx="207">
                  <c:v>40414</c:v>
                </c:pt>
                <c:pt idx="208">
                  <c:v>40415</c:v>
                </c:pt>
                <c:pt idx="209">
                  <c:v>40416</c:v>
                </c:pt>
                <c:pt idx="210">
                  <c:v>40417</c:v>
                </c:pt>
                <c:pt idx="211">
                  <c:v>40420</c:v>
                </c:pt>
                <c:pt idx="212">
                  <c:v>40421</c:v>
                </c:pt>
                <c:pt idx="213">
                  <c:v>40422</c:v>
                </c:pt>
                <c:pt idx="214">
                  <c:v>40423</c:v>
                </c:pt>
                <c:pt idx="215">
                  <c:v>40424</c:v>
                </c:pt>
                <c:pt idx="216">
                  <c:v>40427</c:v>
                </c:pt>
                <c:pt idx="217">
                  <c:v>40428</c:v>
                </c:pt>
                <c:pt idx="218">
                  <c:v>40429</c:v>
                </c:pt>
                <c:pt idx="219">
                  <c:v>40430</c:v>
                </c:pt>
                <c:pt idx="220">
                  <c:v>40431</c:v>
                </c:pt>
                <c:pt idx="221">
                  <c:v>40434</c:v>
                </c:pt>
                <c:pt idx="222">
                  <c:v>40435</c:v>
                </c:pt>
                <c:pt idx="223">
                  <c:v>40436</c:v>
                </c:pt>
                <c:pt idx="224">
                  <c:v>40437</c:v>
                </c:pt>
                <c:pt idx="225">
                  <c:v>40438</c:v>
                </c:pt>
                <c:pt idx="226">
                  <c:v>40441</c:v>
                </c:pt>
                <c:pt idx="227">
                  <c:v>40442</c:v>
                </c:pt>
                <c:pt idx="228">
                  <c:v>40443</c:v>
                </c:pt>
                <c:pt idx="229">
                  <c:v>40444</c:v>
                </c:pt>
                <c:pt idx="230">
                  <c:v>40445</c:v>
                </c:pt>
                <c:pt idx="231">
                  <c:v>40448</c:v>
                </c:pt>
                <c:pt idx="232">
                  <c:v>40449</c:v>
                </c:pt>
                <c:pt idx="233">
                  <c:v>40450</c:v>
                </c:pt>
                <c:pt idx="234">
                  <c:v>40451</c:v>
                </c:pt>
                <c:pt idx="235">
                  <c:v>40452</c:v>
                </c:pt>
                <c:pt idx="236">
                  <c:v>40455</c:v>
                </c:pt>
                <c:pt idx="237">
                  <c:v>40456</c:v>
                </c:pt>
                <c:pt idx="238">
                  <c:v>40457</c:v>
                </c:pt>
                <c:pt idx="239">
                  <c:v>40458</c:v>
                </c:pt>
                <c:pt idx="240">
                  <c:v>40459</c:v>
                </c:pt>
                <c:pt idx="241">
                  <c:v>40462</c:v>
                </c:pt>
                <c:pt idx="242">
                  <c:v>40463</c:v>
                </c:pt>
                <c:pt idx="243">
                  <c:v>40464</c:v>
                </c:pt>
                <c:pt idx="244">
                  <c:v>40465</c:v>
                </c:pt>
                <c:pt idx="245">
                  <c:v>40466</c:v>
                </c:pt>
                <c:pt idx="246">
                  <c:v>40469</c:v>
                </c:pt>
                <c:pt idx="247">
                  <c:v>40470</c:v>
                </c:pt>
                <c:pt idx="248">
                  <c:v>40471</c:v>
                </c:pt>
                <c:pt idx="249">
                  <c:v>40472</c:v>
                </c:pt>
                <c:pt idx="250">
                  <c:v>40473</c:v>
                </c:pt>
                <c:pt idx="251">
                  <c:v>40476</c:v>
                </c:pt>
                <c:pt idx="252">
                  <c:v>40477</c:v>
                </c:pt>
                <c:pt idx="253">
                  <c:v>40478</c:v>
                </c:pt>
                <c:pt idx="254">
                  <c:v>40479</c:v>
                </c:pt>
                <c:pt idx="255">
                  <c:v>40480</c:v>
                </c:pt>
                <c:pt idx="256">
                  <c:v>40483</c:v>
                </c:pt>
                <c:pt idx="257">
                  <c:v>40484</c:v>
                </c:pt>
                <c:pt idx="258">
                  <c:v>40485</c:v>
                </c:pt>
                <c:pt idx="259">
                  <c:v>40486</c:v>
                </c:pt>
                <c:pt idx="260">
                  <c:v>40487</c:v>
                </c:pt>
                <c:pt idx="261">
                  <c:v>40490</c:v>
                </c:pt>
                <c:pt idx="262">
                  <c:v>40491</c:v>
                </c:pt>
                <c:pt idx="263">
                  <c:v>40492</c:v>
                </c:pt>
                <c:pt idx="264">
                  <c:v>40493</c:v>
                </c:pt>
                <c:pt idx="265">
                  <c:v>40494</c:v>
                </c:pt>
                <c:pt idx="266">
                  <c:v>40497</c:v>
                </c:pt>
                <c:pt idx="267">
                  <c:v>40498</c:v>
                </c:pt>
                <c:pt idx="268">
                  <c:v>40499</c:v>
                </c:pt>
                <c:pt idx="269">
                  <c:v>40500</c:v>
                </c:pt>
                <c:pt idx="270">
                  <c:v>40501</c:v>
                </c:pt>
                <c:pt idx="271">
                  <c:v>40504</c:v>
                </c:pt>
                <c:pt idx="272">
                  <c:v>40505</c:v>
                </c:pt>
                <c:pt idx="273">
                  <c:v>40506</c:v>
                </c:pt>
                <c:pt idx="274">
                  <c:v>40507</c:v>
                </c:pt>
                <c:pt idx="275">
                  <c:v>40508</c:v>
                </c:pt>
                <c:pt idx="276">
                  <c:v>40511</c:v>
                </c:pt>
                <c:pt idx="277">
                  <c:v>40512</c:v>
                </c:pt>
                <c:pt idx="278">
                  <c:v>40513</c:v>
                </c:pt>
                <c:pt idx="279">
                  <c:v>40514</c:v>
                </c:pt>
                <c:pt idx="280">
                  <c:v>40515</c:v>
                </c:pt>
                <c:pt idx="281">
                  <c:v>40518</c:v>
                </c:pt>
                <c:pt idx="282">
                  <c:v>40519</c:v>
                </c:pt>
                <c:pt idx="283">
                  <c:v>40520</c:v>
                </c:pt>
                <c:pt idx="284">
                  <c:v>40521</c:v>
                </c:pt>
                <c:pt idx="285">
                  <c:v>40522</c:v>
                </c:pt>
                <c:pt idx="286">
                  <c:v>40525</c:v>
                </c:pt>
                <c:pt idx="287">
                  <c:v>40526</c:v>
                </c:pt>
                <c:pt idx="288">
                  <c:v>40527</c:v>
                </c:pt>
                <c:pt idx="289">
                  <c:v>40528</c:v>
                </c:pt>
                <c:pt idx="290">
                  <c:v>40529</c:v>
                </c:pt>
                <c:pt idx="291">
                  <c:v>40532</c:v>
                </c:pt>
                <c:pt idx="292">
                  <c:v>40533</c:v>
                </c:pt>
                <c:pt idx="293">
                  <c:v>40534</c:v>
                </c:pt>
                <c:pt idx="294">
                  <c:v>40535</c:v>
                </c:pt>
                <c:pt idx="295">
                  <c:v>40536</c:v>
                </c:pt>
                <c:pt idx="296">
                  <c:v>40539</c:v>
                </c:pt>
                <c:pt idx="297">
                  <c:v>40540</c:v>
                </c:pt>
                <c:pt idx="298">
                  <c:v>40541</c:v>
                </c:pt>
                <c:pt idx="299">
                  <c:v>40542</c:v>
                </c:pt>
                <c:pt idx="300">
                  <c:v>40543</c:v>
                </c:pt>
                <c:pt idx="301">
                  <c:v>40546</c:v>
                </c:pt>
                <c:pt idx="302">
                  <c:v>40547</c:v>
                </c:pt>
                <c:pt idx="303">
                  <c:v>40548</c:v>
                </c:pt>
                <c:pt idx="304">
                  <c:v>40549</c:v>
                </c:pt>
                <c:pt idx="305">
                  <c:v>40550</c:v>
                </c:pt>
                <c:pt idx="306">
                  <c:v>40553</c:v>
                </c:pt>
                <c:pt idx="307">
                  <c:v>40554</c:v>
                </c:pt>
                <c:pt idx="308">
                  <c:v>40555</c:v>
                </c:pt>
                <c:pt idx="309">
                  <c:v>40556</c:v>
                </c:pt>
                <c:pt idx="310">
                  <c:v>40557</c:v>
                </c:pt>
                <c:pt idx="311">
                  <c:v>40560</c:v>
                </c:pt>
                <c:pt idx="312">
                  <c:v>40561</c:v>
                </c:pt>
                <c:pt idx="313">
                  <c:v>40562</c:v>
                </c:pt>
                <c:pt idx="314">
                  <c:v>40563</c:v>
                </c:pt>
                <c:pt idx="315">
                  <c:v>40564</c:v>
                </c:pt>
                <c:pt idx="316">
                  <c:v>40567</c:v>
                </c:pt>
                <c:pt idx="317">
                  <c:v>40568</c:v>
                </c:pt>
                <c:pt idx="318">
                  <c:v>40569</c:v>
                </c:pt>
                <c:pt idx="319">
                  <c:v>40570</c:v>
                </c:pt>
                <c:pt idx="320">
                  <c:v>40571</c:v>
                </c:pt>
                <c:pt idx="321">
                  <c:v>40574</c:v>
                </c:pt>
                <c:pt idx="322">
                  <c:v>40575</c:v>
                </c:pt>
                <c:pt idx="323">
                  <c:v>40576</c:v>
                </c:pt>
                <c:pt idx="324">
                  <c:v>40577</c:v>
                </c:pt>
                <c:pt idx="325">
                  <c:v>40578</c:v>
                </c:pt>
                <c:pt idx="326">
                  <c:v>40581</c:v>
                </c:pt>
                <c:pt idx="327">
                  <c:v>40582</c:v>
                </c:pt>
                <c:pt idx="328">
                  <c:v>40583</c:v>
                </c:pt>
                <c:pt idx="329">
                  <c:v>40584</c:v>
                </c:pt>
                <c:pt idx="330">
                  <c:v>40585</c:v>
                </c:pt>
                <c:pt idx="331">
                  <c:v>40588</c:v>
                </c:pt>
                <c:pt idx="332">
                  <c:v>40589</c:v>
                </c:pt>
                <c:pt idx="333">
                  <c:v>40590</c:v>
                </c:pt>
                <c:pt idx="334">
                  <c:v>40591</c:v>
                </c:pt>
                <c:pt idx="335">
                  <c:v>40592</c:v>
                </c:pt>
                <c:pt idx="336">
                  <c:v>40595</c:v>
                </c:pt>
                <c:pt idx="337">
                  <c:v>40596</c:v>
                </c:pt>
                <c:pt idx="338">
                  <c:v>40597</c:v>
                </c:pt>
                <c:pt idx="339">
                  <c:v>40598</c:v>
                </c:pt>
                <c:pt idx="340">
                  <c:v>40599</c:v>
                </c:pt>
                <c:pt idx="341">
                  <c:v>40602</c:v>
                </c:pt>
                <c:pt idx="342">
                  <c:v>40603</c:v>
                </c:pt>
                <c:pt idx="343">
                  <c:v>40604</c:v>
                </c:pt>
                <c:pt idx="344">
                  <c:v>40605</c:v>
                </c:pt>
                <c:pt idx="345">
                  <c:v>40606</c:v>
                </c:pt>
                <c:pt idx="346">
                  <c:v>40609</c:v>
                </c:pt>
                <c:pt idx="347">
                  <c:v>40610</c:v>
                </c:pt>
                <c:pt idx="348">
                  <c:v>40611</c:v>
                </c:pt>
                <c:pt idx="349">
                  <c:v>40612</c:v>
                </c:pt>
                <c:pt idx="350">
                  <c:v>40613</c:v>
                </c:pt>
                <c:pt idx="351">
                  <c:v>40616</c:v>
                </c:pt>
                <c:pt idx="352">
                  <c:v>40617</c:v>
                </c:pt>
                <c:pt idx="353">
                  <c:v>40618</c:v>
                </c:pt>
                <c:pt idx="354">
                  <c:v>40619</c:v>
                </c:pt>
                <c:pt idx="355">
                  <c:v>40620</c:v>
                </c:pt>
                <c:pt idx="356">
                  <c:v>40623</c:v>
                </c:pt>
                <c:pt idx="357">
                  <c:v>40624</c:v>
                </c:pt>
                <c:pt idx="358">
                  <c:v>40625</c:v>
                </c:pt>
                <c:pt idx="359">
                  <c:v>40626</c:v>
                </c:pt>
                <c:pt idx="360">
                  <c:v>40627</c:v>
                </c:pt>
                <c:pt idx="361">
                  <c:v>40630</c:v>
                </c:pt>
                <c:pt idx="362">
                  <c:v>40631</c:v>
                </c:pt>
                <c:pt idx="363">
                  <c:v>40632</c:v>
                </c:pt>
                <c:pt idx="364">
                  <c:v>40633</c:v>
                </c:pt>
                <c:pt idx="365">
                  <c:v>40634</c:v>
                </c:pt>
                <c:pt idx="366">
                  <c:v>40637</c:v>
                </c:pt>
                <c:pt idx="367">
                  <c:v>40638</c:v>
                </c:pt>
                <c:pt idx="368">
                  <c:v>40639</c:v>
                </c:pt>
                <c:pt idx="369">
                  <c:v>40640</c:v>
                </c:pt>
                <c:pt idx="370">
                  <c:v>40641</c:v>
                </c:pt>
                <c:pt idx="371">
                  <c:v>40644</c:v>
                </c:pt>
                <c:pt idx="372">
                  <c:v>40645</c:v>
                </c:pt>
                <c:pt idx="373">
                  <c:v>40646</c:v>
                </c:pt>
                <c:pt idx="374">
                  <c:v>40647</c:v>
                </c:pt>
                <c:pt idx="375">
                  <c:v>40648</c:v>
                </c:pt>
                <c:pt idx="376">
                  <c:v>40651</c:v>
                </c:pt>
                <c:pt idx="377">
                  <c:v>40652</c:v>
                </c:pt>
                <c:pt idx="378">
                  <c:v>40653</c:v>
                </c:pt>
                <c:pt idx="379">
                  <c:v>40654</c:v>
                </c:pt>
                <c:pt idx="380">
                  <c:v>40659</c:v>
                </c:pt>
                <c:pt idx="381">
                  <c:v>40660</c:v>
                </c:pt>
                <c:pt idx="382">
                  <c:v>40661</c:v>
                </c:pt>
                <c:pt idx="383">
                  <c:v>40662</c:v>
                </c:pt>
                <c:pt idx="384">
                  <c:v>40665</c:v>
                </c:pt>
                <c:pt idx="385">
                  <c:v>40666</c:v>
                </c:pt>
                <c:pt idx="386">
                  <c:v>40667</c:v>
                </c:pt>
                <c:pt idx="387">
                  <c:v>40668</c:v>
                </c:pt>
                <c:pt idx="388">
                  <c:v>40669</c:v>
                </c:pt>
                <c:pt idx="389">
                  <c:v>40672</c:v>
                </c:pt>
                <c:pt idx="390">
                  <c:v>40673</c:v>
                </c:pt>
                <c:pt idx="391">
                  <c:v>40674</c:v>
                </c:pt>
                <c:pt idx="392">
                  <c:v>40675</c:v>
                </c:pt>
                <c:pt idx="393">
                  <c:v>40676</c:v>
                </c:pt>
                <c:pt idx="394">
                  <c:v>40679</c:v>
                </c:pt>
                <c:pt idx="395">
                  <c:v>40680</c:v>
                </c:pt>
                <c:pt idx="396">
                  <c:v>40681</c:v>
                </c:pt>
                <c:pt idx="397">
                  <c:v>40682</c:v>
                </c:pt>
                <c:pt idx="398">
                  <c:v>40683</c:v>
                </c:pt>
                <c:pt idx="399">
                  <c:v>40686</c:v>
                </c:pt>
                <c:pt idx="400">
                  <c:v>40687</c:v>
                </c:pt>
                <c:pt idx="401">
                  <c:v>40688</c:v>
                </c:pt>
                <c:pt idx="402">
                  <c:v>40689</c:v>
                </c:pt>
                <c:pt idx="403">
                  <c:v>40690</c:v>
                </c:pt>
                <c:pt idx="404">
                  <c:v>40693</c:v>
                </c:pt>
                <c:pt idx="405">
                  <c:v>40694</c:v>
                </c:pt>
                <c:pt idx="406">
                  <c:v>40695</c:v>
                </c:pt>
                <c:pt idx="407">
                  <c:v>40696</c:v>
                </c:pt>
                <c:pt idx="408">
                  <c:v>40697</c:v>
                </c:pt>
                <c:pt idx="409">
                  <c:v>40700</c:v>
                </c:pt>
                <c:pt idx="410">
                  <c:v>40701</c:v>
                </c:pt>
                <c:pt idx="411">
                  <c:v>40702</c:v>
                </c:pt>
                <c:pt idx="412">
                  <c:v>40703</c:v>
                </c:pt>
                <c:pt idx="413">
                  <c:v>40704</c:v>
                </c:pt>
                <c:pt idx="414">
                  <c:v>40707</c:v>
                </c:pt>
                <c:pt idx="415">
                  <c:v>40708</c:v>
                </c:pt>
                <c:pt idx="416">
                  <c:v>40709</c:v>
                </c:pt>
                <c:pt idx="417">
                  <c:v>40710</c:v>
                </c:pt>
                <c:pt idx="418">
                  <c:v>40711</c:v>
                </c:pt>
                <c:pt idx="419">
                  <c:v>40714</c:v>
                </c:pt>
                <c:pt idx="420">
                  <c:v>40715</c:v>
                </c:pt>
                <c:pt idx="421">
                  <c:v>40716</c:v>
                </c:pt>
                <c:pt idx="422">
                  <c:v>40717</c:v>
                </c:pt>
                <c:pt idx="423">
                  <c:v>40718</c:v>
                </c:pt>
                <c:pt idx="424">
                  <c:v>40721</c:v>
                </c:pt>
                <c:pt idx="425">
                  <c:v>40722</c:v>
                </c:pt>
                <c:pt idx="426">
                  <c:v>40723</c:v>
                </c:pt>
                <c:pt idx="427">
                  <c:v>40724</c:v>
                </c:pt>
                <c:pt idx="428">
                  <c:v>40725</c:v>
                </c:pt>
                <c:pt idx="429">
                  <c:v>40728</c:v>
                </c:pt>
                <c:pt idx="430">
                  <c:v>40729</c:v>
                </c:pt>
                <c:pt idx="431">
                  <c:v>40730</c:v>
                </c:pt>
                <c:pt idx="432">
                  <c:v>40731</c:v>
                </c:pt>
                <c:pt idx="433">
                  <c:v>40732</c:v>
                </c:pt>
                <c:pt idx="434">
                  <c:v>40735</c:v>
                </c:pt>
                <c:pt idx="435">
                  <c:v>40736</c:v>
                </c:pt>
                <c:pt idx="436">
                  <c:v>40737</c:v>
                </c:pt>
                <c:pt idx="437">
                  <c:v>40738</c:v>
                </c:pt>
                <c:pt idx="438">
                  <c:v>40739</c:v>
                </c:pt>
                <c:pt idx="439">
                  <c:v>40742</c:v>
                </c:pt>
                <c:pt idx="440">
                  <c:v>40743</c:v>
                </c:pt>
                <c:pt idx="441">
                  <c:v>40744</c:v>
                </c:pt>
                <c:pt idx="442">
                  <c:v>40745</c:v>
                </c:pt>
                <c:pt idx="443">
                  <c:v>40746</c:v>
                </c:pt>
                <c:pt idx="444">
                  <c:v>40749</c:v>
                </c:pt>
                <c:pt idx="445">
                  <c:v>40750</c:v>
                </c:pt>
                <c:pt idx="446">
                  <c:v>40751</c:v>
                </c:pt>
                <c:pt idx="447">
                  <c:v>40752</c:v>
                </c:pt>
                <c:pt idx="448">
                  <c:v>40753</c:v>
                </c:pt>
                <c:pt idx="449">
                  <c:v>40756</c:v>
                </c:pt>
                <c:pt idx="450">
                  <c:v>40757</c:v>
                </c:pt>
                <c:pt idx="451">
                  <c:v>40758</c:v>
                </c:pt>
                <c:pt idx="452">
                  <c:v>40759</c:v>
                </c:pt>
                <c:pt idx="453">
                  <c:v>40760</c:v>
                </c:pt>
                <c:pt idx="454">
                  <c:v>40763</c:v>
                </c:pt>
                <c:pt idx="455">
                  <c:v>40764</c:v>
                </c:pt>
                <c:pt idx="456">
                  <c:v>40765</c:v>
                </c:pt>
                <c:pt idx="457">
                  <c:v>40766</c:v>
                </c:pt>
                <c:pt idx="458">
                  <c:v>40767</c:v>
                </c:pt>
                <c:pt idx="459">
                  <c:v>40770</c:v>
                </c:pt>
                <c:pt idx="460">
                  <c:v>40771</c:v>
                </c:pt>
                <c:pt idx="461">
                  <c:v>40772</c:v>
                </c:pt>
                <c:pt idx="462">
                  <c:v>40773</c:v>
                </c:pt>
                <c:pt idx="463">
                  <c:v>40774</c:v>
                </c:pt>
                <c:pt idx="464">
                  <c:v>40777</c:v>
                </c:pt>
                <c:pt idx="465">
                  <c:v>40778</c:v>
                </c:pt>
                <c:pt idx="466">
                  <c:v>40779</c:v>
                </c:pt>
                <c:pt idx="467">
                  <c:v>40780</c:v>
                </c:pt>
                <c:pt idx="468">
                  <c:v>40781</c:v>
                </c:pt>
                <c:pt idx="469">
                  <c:v>40784</c:v>
                </c:pt>
                <c:pt idx="470">
                  <c:v>40785</c:v>
                </c:pt>
                <c:pt idx="471">
                  <c:v>40786</c:v>
                </c:pt>
                <c:pt idx="472">
                  <c:v>40787</c:v>
                </c:pt>
                <c:pt idx="473">
                  <c:v>40788</c:v>
                </c:pt>
                <c:pt idx="474">
                  <c:v>40791</c:v>
                </c:pt>
                <c:pt idx="475">
                  <c:v>40792</c:v>
                </c:pt>
                <c:pt idx="476">
                  <c:v>40793</c:v>
                </c:pt>
                <c:pt idx="477">
                  <c:v>40794</c:v>
                </c:pt>
                <c:pt idx="478">
                  <c:v>40795</c:v>
                </c:pt>
                <c:pt idx="479">
                  <c:v>40798</c:v>
                </c:pt>
                <c:pt idx="480">
                  <c:v>40799</c:v>
                </c:pt>
                <c:pt idx="481">
                  <c:v>40800</c:v>
                </c:pt>
                <c:pt idx="482">
                  <c:v>40801</c:v>
                </c:pt>
                <c:pt idx="483">
                  <c:v>40802</c:v>
                </c:pt>
                <c:pt idx="484">
                  <c:v>40805</c:v>
                </c:pt>
                <c:pt idx="485">
                  <c:v>40806</c:v>
                </c:pt>
                <c:pt idx="486">
                  <c:v>40807</c:v>
                </c:pt>
                <c:pt idx="487">
                  <c:v>40808</c:v>
                </c:pt>
                <c:pt idx="488">
                  <c:v>40809</c:v>
                </c:pt>
                <c:pt idx="489">
                  <c:v>40812</c:v>
                </c:pt>
                <c:pt idx="490">
                  <c:v>40813</c:v>
                </c:pt>
                <c:pt idx="491">
                  <c:v>40814</c:v>
                </c:pt>
                <c:pt idx="492">
                  <c:v>40815</c:v>
                </c:pt>
                <c:pt idx="493">
                  <c:v>40816</c:v>
                </c:pt>
                <c:pt idx="494">
                  <c:v>40819</c:v>
                </c:pt>
                <c:pt idx="495">
                  <c:v>40820</c:v>
                </c:pt>
                <c:pt idx="496">
                  <c:v>40821</c:v>
                </c:pt>
                <c:pt idx="497">
                  <c:v>40822</c:v>
                </c:pt>
                <c:pt idx="498">
                  <c:v>40823</c:v>
                </c:pt>
                <c:pt idx="499">
                  <c:v>40826</c:v>
                </c:pt>
                <c:pt idx="500">
                  <c:v>40827</c:v>
                </c:pt>
                <c:pt idx="501">
                  <c:v>40828</c:v>
                </c:pt>
                <c:pt idx="502">
                  <c:v>40829</c:v>
                </c:pt>
                <c:pt idx="503">
                  <c:v>40830</c:v>
                </c:pt>
                <c:pt idx="504">
                  <c:v>40833</c:v>
                </c:pt>
                <c:pt idx="505">
                  <c:v>40834</c:v>
                </c:pt>
                <c:pt idx="506">
                  <c:v>40835</c:v>
                </c:pt>
                <c:pt idx="507">
                  <c:v>40836</c:v>
                </c:pt>
                <c:pt idx="508">
                  <c:v>40837</c:v>
                </c:pt>
                <c:pt idx="509">
                  <c:v>40840</c:v>
                </c:pt>
                <c:pt idx="510">
                  <c:v>40841</c:v>
                </c:pt>
                <c:pt idx="511">
                  <c:v>40842</c:v>
                </c:pt>
                <c:pt idx="512">
                  <c:v>40843</c:v>
                </c:pt>
                <c:pt idx="513">
                  <c:v>40844</c:v>
                </c:pt>
                <c:pt idx="514">
                  <c:v>40847</c:v>
                </c:pt>
                <c:pt idx="515">
                  <c:v>40848</c:v>
                </c:pt>
                <c:pt idx="516">
                  <c:v>40849</c:v>
                </c:pt>
                <c:pt idx="517">
                  <c:v>40850</c:v>
                </c:pt>
                <c:pt idx="518">
                  <c:v>40851</c:v>
                </c:pt>
                <c:pt idx="519">
                  <c:v>40854</c:v>
                </c:pt>
                <c:pt idx="520">
                  <c:v>40855</c:v>
                </c:pt>
                <c:pt idx="521">
                  <c:v>40856</c:v>
                </c:pt>
                <c:pt idx="522">
                  <c:v>40857</c:v>
                </c:pt>
                <c:pt idx="523">
                  <c:v>40858</c:v>
                </c:pt>
                <c:pt idx="524">
                  <c:v>40861</c:v>
                </c:pt>
                <c:pt idx="525">
                  <c:v>40862</c:v>
                </c:pt>
                <c:pt idx="526">
                  <c:v>40863</c:v>
                </c:pt>
                <c:pt idx="527">
                  <c:v>40864</c:v>
                </c:pt>
                <c:pt idx="528">
                  <c:v>40865</c:v>
                </c:pt>
                <c:pt idx="529">
                  <c:v>40868</c:v>
                </c:pt>
                <c:pt idx="530">
                  <c:v>40869</c:v>
                </c:pt>
                <c:pt idx="531">
                  <c:v>40870</c:v>
                </c:pt>
                <c:pt idx="532">
                  <c:v>40871</c:v>
                </c:pt>
                <c:pt idx="533">
                  <c:v>40872</c:v>
                </c:pt>
                <c:pt idx="534">
                  <c:v>40875</c:v>
                </c:pt>
                <c:pt idx="535">
                  <c:v>40876</c:v>
                </c:pt>
                <c:pt idx="536">
                  <c:v>40877</c:v>
                </c:pt>
                <c:pt idx="537">
                  <c:v>40878</c:v>
                </c:pt>
                <c:pt idx="538">
                  <c:v>40879</c:v>
                </c:pt>
                <c:pt idx="539">
                  <c:v>40882</c:v>
                </c:pt>
                <c:pt idx="540">
                  <c:v>40883</c:v>
                </c:pt>
                <c:pt idx="541">
                  <c:v>40884</c:v>
                </c:pt>
                <c:pt idx="542">
                  <c:v>40885</c:v>
                </c:pt>
                <c:pt idx="543">
                  <c:v>40886</c:v>
                </c:pt>
                <c:pt idx="544">
                  <c:v>40889</c:v>
                </c:pt>
                <c:pt idx="545">
                  <c:v>40890</c:v>
                </c:pt>
                <c:pt idx="546">
                  <c:v>40891</c:v>
                </c:pt>
                <c:pt idx="547">
                  <c:v>40892</c:v>
                </c:pt>
                <c:pt idx="548">
                  <c:v>40893</c:v>
                </c:pt>
                <c:pt idx="549">
                  <c:v>40896</c:v>
                </c:pt>
                <c:pt idx="550">
                  <c:v>40897</c:v>
                </c:pt>
                <c:pt idx="551">
                  <c:v>40898</c:v>
                </c:pt>
                <c:pt idx="552">
                  <c:v>40899</c:v>
                </c:pt>
                <c:pt idx="553">
                  <c:v>40900</c:v>
                </c:pt>
                <c:pt idx="554">
                  <c:v>40904</c:v>
                </c:pt>
                <c:pt idx="555">
                  <c:v>40905</c:v>
                </c:pt>
                <c:pt idx="556">
                  <c:v>40906</c:v>
                </c:pt>
                <c:pt idx="557">
                  <c:v>40907</c:v>
                </c:pt>
                <c:pt idx="558">
                  <c:v>40910</c:v>
                </c:pt>
                <c:pt idx="559">
                  <c:v>40911</c:v>
                </c:pt>
                <c:pt idx="560">
                  <c:v>40912</c:v>
                </c:pt>
                <c:pt idx="561">
                  <c:v>40913</c:v>
                </c:pt>
                <c:pt idx="562">
                  <c:v>40914</c:v>
                </c:pt>
                <c:pt idx="563">
                  <c:v>40917</c:v>
                </c:pt>
                <c:pt idx="564">
                  <c:v>40918</c:v>
                </c:pt>
                <c:pt idx="565">
                  <c:v>40919</c:v>
                </c:pt>
                <c:pt idx="566">
                  <c:v>40920</c:v>
                </c:pt>
                <c:pt idx="567">
                  <c:v>40921</c:v>
                </c:pt>
                <c:pt idx="568">
                  <c:v>40924</c:v>
                </c:pt>
                <c:pt idx="569">
                  <c:v>40925</c:v>
                </c:pt>
                <c:pt idx="570">
                  <c:v>40926</c:v>
                </c:pt>
                <c:pt idx="571">
                  <c:v>40927</c:v>
                </c:pt>
                <c:pt idx="572">
                  <c:v>40928</c:v>
                </c:pt>
                <c:pt idx="573">
                  <c:v>40931</c:v>
                </c:pt>
                <c:pt idx="574">
                  <c:v>40932</c:v>
                </c:pt>
                <c:pt idx="575">
                  <c:v>40933</c:v>
                </c:pt>
                <c:pt idx="576">
                  <c:v>40934</c:v>
                </c:pt>
                <c:pt idx="577">
                  <c:v>40935</c:v>
                </c:pt>
                <c:pt idx="578">
                  <c:v>40938</c:v>
                </c:pt>
                <c:pt idx="579">
                  <c:v>40939</c:v>
                </c:pt>
                <c:pt idx="580">
                  <c:v>40940</c:v>
                </c:pt>
                <c:pt idx="581">
                  <c:v>40941</c:v>
                </c:pt>
                <c:pt idx="582">
                  <c:v>40942</c:v>
                </c:pt>
                <c:pt idx="583">
                  <c:v>40945</c:v>
                </c:pt>
                <c:pt idx="584">
                  <c:v>40946</c:v>
                </c:pt>
                <c:pt idx="585">
                  <c:v>40947</c:v>
                </c:pt>
                <c:pt idx="586">
                  <c:v>40948</c:v>
                </c:pt>
                <c:pt idx="587">
                  <c:v>40949</c:v>
                </c:pt>
                <c:pt idx="588">
                  <c:v>40952</c:v>
                </c:pt>
                <c:pt idx="589">
                  <c:v>40953</c:v>
                </c:pt>
                <c:pt idx="590">
                  <c:v>40954</c:v>
                </c:pt>
                <c:pt idx="591">
                  <c:v>40955</c:v>
                </c:pt>
                <c:pt idx="592">
                  <c:v>40956</c:v>
                </c:pt>
                <c:pt idx="593">
                  <c:v>40959</c:v>
                </c:pt>
                <c:pt idx="594">
                  <c:v>40960</c:v>
                </c:pt>
                <c:pt idx="595">
                  <c:v>40961</c:v>
                </c:pt>
                <c:pt idx="596">
                  <c:v>40962</c:v>
                </c:pt>
                <c:pt idx="597">
                  <c:v>40963</c:v>
                </c:pt>
                <c:pt idx="598">
                  <c:v>40966</c:v>
                </c:pt>
                <c:pt idx="599">
                  <c:v>40967</c:v>
                </c:pt>
                <c:pt idx="600">
                  <c:v>40968</c:v>
                </c:pt>
                <c:pt idx="601">
                  <c:v>40969</c:v>
                </c:pt>
                <c:pt idx="602">
                  <c:v>40970</c:v>
                </c:pt>
                <c:pt idx="603">
                  <c:v>40973</c:v>
                </c:pt>
                <c:pt idx="604">
                  <c:v>40974</c:v>
                </c:pt>
                <c:pt idx="605">
                  <c:v>40975</c:v>
                </c:pt>
                <c:pt idx="606">
                  <c:v>40976</c:v>
                </c:pt>
                <c:pt idx="607">
                  <c:v>40977</c:v>
                </c:pt>
                <c:pt idx="608">
                  <c:v>40980</c:v>
                </c:pt>
                <c:pt idx="609">
                  <c:v>40981</c:v>
                </c:pt>
                <c:pt idx="610">
                  <c:v>40982</c:v>
                </c:pt>
                <c:pt idx="611">
                  <c:v>40983</c:v>
                </c:pt>
                <c:pt idx="612">
                  <c:v>40984</c:v>
                </c:pt>
                <c:pt idx="613">
                  <c:v>40987</c:v>
                </c:pt>
                <c:pt idx="614">
                  <c:v>40988</c:v>
                </c:pt>
                <c:pt idx="615">
                  <c:v>40989</c:v>
                </c:pt>
                <c:pt idx="616">
                  <c:v>40990</c:v>
                </c:pt>
                <c:pt idx="617">
                  <c:v>40991</c:v>
                </c:pt>
                <c:pt idx="618">
                  <c:v>40994</c:v>
                </c:pt>
                <c:pt idx="619">
                  <c:v>40995</c:v>
                </c:pt>
                <c:pt idx="620">
                  <c:v>40996</c:v>
                </c:pt>
                <c:pt idx="621">
                  <c:v>40997</c:v>
                </c:pt>
                <c:pt idx="622">
                  <c:v>40998</c:v>
                </c:pt>
                <c:pt idx="623">
                  <c:v>41001</c:v>
                </c:pt>
                <c:pt idx="624">
                  <c:v>41002</c:v>
                </c:pt>
                <c:pt idx="625">
                  <c:v>41003</c:v>
                </c:pt>
                <c:pt idx="626">
                  <c:v>41004</c:v>
                </c:pt>
                <c:pt idx="627">
                  <c:v>41009</c:v>
                </c:pt>
                <c:pt idx="628">
                  <c:v>41010</c:v>
                </c:pt>
                <c:pt idx="629">
                  <c:v>41011</c:v>
                </c:pt>
                <c:pt idx="630">
                  <c:v>41012</c:v>
                </c:pt>
                <c:pt idx="631">
                  <c:v>41015</c:v>
                </c:pt>
                <c:pt idx="632">
                  <c:v>41016</c:v>
                </c:pt>
                <c:pt idx="633">
                  <c:v>41017</c:v>
                </c:pt>
                <c:pt idx="634">
                  <c:v>41018</c:v>
                </c:pt>
                <c:pt idx="635">
                  <c:v>41019</c:v>
                </c:pt>
                <c:pt idx="636">
                  <c:v>41022</c:v>
                </c:pt>
                <c:pt idx="637">
                  <c:v>41023</c:v>
                </c:pt>
                <c:pt idx="638">
                  <c:v>41024</c:v>
                </c:pt>
                <c:pt idx="639">
                  <c:v>41025</c:v>
                </c:pt>
                <c:pt idx="640">
                  <c:v>41026</c:v>
                </c:pt>
                <c:pt idx="641">
                  <c:v>41029</c:v>
                </c:pt>
                <c:pt idx="642">
                  <c:v>41030</c:v>
                </c:pt>
                <c:pt idx="643">
                  <c:v>41031</c:v>
                </c:pt>
                <c:pt idx="644">
                  <c:v>41032</c:v>
                </c:pt>
                <c:pt idx="645">
                  <c:v>41033</c:v>
                </c:pt>
                <c:pt idx="646">
                  <c:v>41036</c:v>
                </c:pt>
                <c:pt idx="647">
                  <c:v>41037</c:v>
                </c:pt>
                <c:pt idx="648">
                  <c:v>41038</c:v>
                </c:pt>
                <c:pt idx="649">
                  <c:v>41039</c:v>
                </c:pt>
                <c:pt idx="650">
                  <c:v>41040</c:v>
                </c:pt>
                <c:pt idx="651">
                  <c:v>41043</c:v>
                </c:pt>
                <c:pt idx="652">
                  <c:v>41044</c:v>
                </c:pt>
                <c:pt idx="653">
                  <c:v>41045</c:v>
                </c:pt>
                <c:pt idx="654">
                  <c:v>41046</c:v>
                </c:pt>
                <c:pt idx="655">
                  <c:v>41047</c:v>
                </c:pt>
                <c:pt idx="656">
                  <c:v>41050</c:v>
                </c:pt>
                <c:pt idx="657">
                  <c:v>41051</c:v>
                </c:pt>
                <c:pt idx="658">
                  <c:v>41052</c:v>
                </c:pt>
                <c:pt idx="659">
                  <c:v>41053</c:v>
                </c:pt>
                <c:pt idx="660">
                  <c:v>41054</c:v>
                </c:pt>
                <c:pt idx="661">
                  <c:v>41057</c:v>
                </c:pt>
                <c:pt idx="662">
                  <c:v>41058</c:v>
                </c:pt>
                <c:pt idx="663">
                  <c:v>41059</c:v>
                </c:pt>
                <c:pt idx="664">
                  <c:v>41060</c:v>
                </c:pt>
                <c:pt idx="665">
                  <c:v>41061</c:v>
                </c:pt>
                <c:pt idx="666">
                  <c:v>41064</c:v>
                </c:pt>
                <c:pt idx="667">
                  <c:v>41065</c:v>
                </c:pt>
                <c:pt idx="668">
                  <c:v>41066</c:v>
                </c:pt>
                <c:pt idx="669">
                  <c:v>41067</c:v>
                </c:pt>
                <c:pt idx="670">
                  <c:v>41068</c:v>
                </c:pt>
                <c:pt idx="671">
                  <c:v>41071</c:v>
                </c:pt>
                <c:pt idx="672">
                  <c:v>41072</c:v>
                </c:pt>
                <c:pt idx="673">
                  <c:v>41073</c:v>
                </c:pt>
                <c:pt idx="674">
                  <c:v>41074</c:v>
                </c:pt>
                <c:pt idx="675">
                  <c:v>41075</c:v>
                </c:pt>
                <c:pt idx="676">
                  <c:v>41078</c:v>
                </c:pt>
                <c:pt idx="677">
                  <c:v>41079</c:v>
                </c:pt>
                <c:pt idx="678">
                  <c:v>41080</c:v>
                </c:pt>
                <c:pt idx="679">
                  <c:v>41081</c:v>
                </c:pt>
                <c:pt idx="680">
                  <c:v>41082</c:v>
                </c:pt>
                <c:pt idx="681">
                  <c:v>41085</c:v>
                </c:pt>
                <c:pt idx="682">
                  <c:v>41086</c:v>
                </c:pt>
                <c:pt idx="683">
                  <c:v>41087</c:v>
                </c:pt>
                <c:pt idx="684">
                  <c:v>41088</c:v>
                </c:pt>
                <c:pt idx="685">
                  <c:v>41089</c:v>
                </c:pt>
                <c:pt idx="686">
                  <c:v>41092</c:v>
                </c:pt>
                <c:pt idx="687">
                  <c:v>41093</c:v>
                </c:pt>
                <c:pt idx="688">
                  <c:v>41094</c:v>
                </c:pt>
                <c:pt idx="689">
                  <c:v>41095</c:v>
                </c:pt>
                <c:pt idx="690">
                  <c:v>41096</c:v>
                </c:pt>
                <c:pt idx="691">
                  <c:v>41099</c:v>
                </c:pt>
                <c:pt idx="692">
                  <c:v>41100</c:v>
                </c:pt>
                <c:pt idx="693">
                  <c:v>41101</c:v>
                </c:pt>
                <c:pt idx="694">
                  <c:v>41102</c:v>
                </c:pt>
                <c:pt idx="695">
                  <c:v>41103</c:v>
                </c:pt>
                <c:pt idx="696">
                  <c:v>41106</c:v>
                </c:pt>
                <c:pt idx="697">
                  <c:v>41107</c:v>
                </c:pt>
                <c:pt idx="698">
                  <c:v>41108</c:v>
                </c:pt>
                <c:pt idx="699">
                  <c:v>41109</c:v>
                </c:pt>
                <c:pt idx="700">
                  <c:v>41110</c:v>
                </c:pt>
                <c:pt idx="701">
                  <c:v>41113</c:v>
                </c:pt>
                <c:pt idx="702">
                  <c:v>41114</c:v>
                </c:pt>
                <c:pt idx="703">
                  <c:v>41115</c:v>
                </c:pt>
                <c:pt idx="704">
                  <c:v>41116</c:v>
                </c:pt>
                <c:pt idx="705">
                  <c:v>41117</c:v>
                </c:pt>
                <c:pt idx="706">
                  <c:v>41120</c:v>
                </c:pt>
                <c:pt idx="707">
                  <c:v>41121</c:v>
                </c:pt>
                <c:pt idx="708">
                  <c:v>41122</c:v>
                </c:pt>
                <c:pt idx="709">
                  <c:v>41123</c:v>
                </c:pt>
                <c:pt idx="710">
                  <c:v>41124</c:v>
                </c:pt>
                <c:pt idx="711">
                  <c:v>41127</c:v>
                </c:pt>
                <c:pt idx="712">
                  <c:v>41128</c:v>
                </c:pt>
                <c:pt idx="713">
                  <c:v>41129</c:v>
                </c:pt>
                <c:pt idx="714">
                  <c:v>41130</c:v>
                </c:pt>
                <c:pt idx="715">
                  <c:v>41131</c:v>
                </c:pt>
                <c:pt idx="716">
                  <c:v>41134</c:v>
                </c:pt>
                <c:pt idx="717">
                  <c:v>41135</c:v>
                </c:pt>
                <c:pt idx="718">
                  <c:v>41136</c:v>
                </c:pt>
                <c:pt idx="719">
                  <c:v>41137</c:v>
                </c:pt>
                <c:pt idx="720">
                  <c:v>41138</c:v>
                </c:pt>
                <c:pt idx="721">
                  <c:v>41141</c:v>
                </c:pt>
                <c:pt idx="722">
                  <c:v>41142</c:v>
                </c:pt>
                <c:pt idx="723">
                  <c:v>41143</c:v>
                </c:pt>
                <c:pt idx="724">
                  <c:v>41144</c:v>
                </c:pt>
                <c:pt idx="725">
                  <c:v>41145</c:v>
                </c:pt>
                <c:pt idx="726">
                  <c:v>41148</c:v>
                </c:pt>
                <c:pt idx="727">
                  <c:v>41149</c:v>
                </c:pt>
                <c:pt idx="728">
                  <c:v>41150</c:v>
                </c:pt>
                <c:pt idx="729">
                  <c:v>41151</c:v>
                </c:pt>
                <c:pt idx="730">
                  <c:v>41152</c:v>
                </c:pt>
                <c:pt idx="731">
                  <c:v>41155</c:v>
                </c:pt>
                <c:pt idx="732">
                  <c:v>41156</c:v>
                </c:pt>
                <c:pt idx="733">
                  <c:v>41157</c:v>
                </c:pt>
                <c:pt idx="734">
                  <c:v>41158</c:v>
                </c:pt>
                <c:pt idx="735">
                  <c:v>41159</c:v>
                </c:pt>
                <c:pt idx="736">
                  <c:v>41162</c:v>
                </c:pt>
                <c:pt idx="737">
                  <c:v>41163</c:v>
                </c:pt>
                <c:pt idx="738">
                  <c:v>41164</c:v>
                </c:pt>
                <c:pt idx="739">
                  <c:v>41165</c:v>
                </c:pt>
                <c:pt idx="740">
                  <c:v>41166</c:v>
                </c:pt>
                <c:pt idx="741">
                  <c:v>41169</c:v>
                </c:pt>
                <c:pt idx="742">
                  <c:v>41170</c:v>
                </c:pt>
                <c:pt idx="743">
                  <c:v>41171</c:v>
                </c:pt>
                <c:pt idx="744">
                  <c:v>41172</c:v>
                </c:pt>
                <c:pt idx="745">
                  <c:v>41173</c:v>
                </c:pt>
                <c:pt idx="746">
                  <c:v>41176</c:v>
                </c:pt>
                <c:pt idx="747">
                  <c:v>41177</c:v>
                </c:pt>
                <c:pt idx="748">
                  <c:v>41178</c:v>
                </c:pt>
                <c:pt idx="749">
                  <c:v>41179</c:v>
                </c:pt>
                <c:pt idx="750">
                  <c:v>41180</c:v>
                </c:pt>
                <c:pt idx="751">
                  <c:v>41183</c:v>
                </c:pt>
                <c:pt idx="752">
                  <c:v>41184</c:v>
                </c:pt>
                <c:pt idx="753">
                  <c:v>41185</c:v>
                </c:pt>
                <c:pt idx="754">
                  <c:v>41186</c:v>
                </c:pt>
                <c:pt idx="755">
                  <c:v>41187</c:v>
                </c:pt>
                <c:pt idx="756">
                  <c:v>41190</c:v>
                </c:pt>
                <c:pt idx="757">
                  <c:v>41191</c:v>
                </c:pt>
                <c:pt idx="758">
                  <c:v>41192</c:v>
                </c:pt>
                <c:pt idx="759">
                  <c:v>41193</c:v>
                </c:pt>
                <c:pt idx="760">
                  <c:v>41194</c:v>
                </c:pt>
                <c:pt idx="761">
                  <c:v>41197</c:v>
                </c:pt>
                <c:pt idx="762">
                  <c:v>41198</c:v>
                </c:pt>
                <c:pt idx="763">
                  <c:v>41199</c:v>
                </c:pt>
                <c:pt idx="764">
                  <c:v>41200</c:v>
                </c:pt>
                <c:pt idx="765">
                  <c:v>41201</c:v>
                </c:pt>
                <c:pt idx="766">
                  <c:v>41204</c:v>
                </c:pt>
                <c:pt idx="767">
                  <c:v>41205</c:v>
                </c:pt>
                <c:pt idx="768">
                  <c:v>41206</c:v>
                </c:pt>
                <c:pt idx="769">
                  <c:v>41207</c:v>
                </c:pt>
                <c:pt idx="770">
                  <c:v>41208</c:v>
                </c:pt>
                <c:pt idx="771">
                  <c:v>41211</c:v>
                </c:pt>
                <c:pt idx="772">
                  <c:v>41212</c:v>
                </c:pt>
                <c:pt idx="773">
                  <c:v>41213</c:v>
                </c:pt>
                <c:pt idx="774">
                  <c:v>41214</c:v>
                </c:pt>
                <c:pt idx="775">
                  <c:v>41215</c:v>
                </c:pt>
                <c:pt idx="776">
                  <c:v>41218</c:v>
                </c:pt>
                <c:pt idx="777">
                  <c:v>41219</c:v>
                </c:pt>
                <c:pt idx="778">
                  <c:v>41220</c:v>
                </c:pt>
                <c:pt idx="779">
                  <c:v>41221</c:v>
                </c:pt>
                <c:pt idx="780">
                  <c:v>41222</c:v>
                </c:pt>
                <c:pt idx="781">
                  <c:v>41225</c:v>
                </c:pt>
                <c:pt idx="782">
                  <c:v>41226</c:v>
                </c:pt>
                <c:pt idx="783">
                  <c:v>41227</c:v>
                </c:pt>
                <c:pt idx="784">
                  <c:v>41228</c:v>
                </c:pt>
                <c:pt idx="785">
                  <c:v>41229</c:v>
                </c:pt>
                <c:pt idx="786">
                  <c:v>41232</c:v>
                </c:pt>
                <c:pt idx="787">
                  <c:v>41233</c:v>
                </c:pt>
                <c:pt idx="788">
                  <c:v>41234</c:v>
                </c:pt>
                <c:pt idx="789">
                  <c:v>41235</c:v>
                </c:pt>
                <c:pt idx="790">
                  <c:v>41236</c:v>
                </c:pt>
                <c:pt idx="791">
                  <c:v>41239</c:v>
                </c:pt>
                <c:pt idx="792">
                  <c:v>41240</c:v>
                </c:pt>
                <c:pt idx="793">
                  <c:v>41241</c:v>
                </c:pt>
                <c:pt idx="794">
                  <c:v>41242</c:v>
                </c:pt>
                <c:pt idx="795">
                  <c:v>41243</c:v>
                </c:pt>
                <c:pt idx="796">
                  <c:v>41246</c:v>
                </c:pt>
                <c:pt idx="797">
                  <c:v>41247</c:v>
                </c:pt>
                <c:pt idx="798">
                  <c:v>41248</c:v>
                </c:pt>
                <c:pt idx="799">
                  <c:v>41249</c:v>
                </c:pt>
                <c:pt idx="800">
                  <c:v>41250</c:v>
                </c:pt>
                <c:pt idx="801">
                  <c:v>41253</c:v>
                </c:pt>
                <c:pt idx="802">
                  <c:v>41254</c:v>
                </c:pt>
                <c:pt idx="803">
                  <c:v>41255</c:v>
                </c:pt>
                <c:pt idx="804">
                  <c:v>41256</c:v>
                </c:pt>
                <c:pt idx="805">
                  <c:v>41257</c:v>
                </c:pt>
                <c:pt idx="806">
                  <c:v>41260</c:v>
                </c:pt>
                <c:pt idx="807">
                  <c:v>41261</c:v>
                </c:pt>
                <c:pt idx="808">
                  <c:v>41262</c:v>
                </c:pt>
                <c:pt idx="809">
                  <c:v>41263</c:v>
                </c:pt>
                <c:pt idx="810">
                  <c:v>41264</c:v>
                </c:pt>
                <c:pt idx="811">
                  <c:v>41267</c:v>
                </c:pt>
                <c:pt idx="812">
                  <c:v>41270</c:v>
                </c:pt>
                <c:pt idx="813">
                  <c:v>41271</c:v>
                </c:pt>
                <c:pt idx="814">
                  <c:v>41274</c:v>
                </c:pt>
                <c:pt idx="815">
                  <c:v>41276</c:v>
                </c:pt>
                <c:pt idx="816">
                  <c:v>41277</c:v>
                </c:pt>
                <c:pt idx="817">
                  <c:v>41278</c:v>
                </c:pt>
                <c:pt idx="818">
                  <c:v>41281</c:v>
                </c:pt>
                <c:pt idx="819">
                  <c:v>41282</c:v>
                </c:pt>
                <c:pt idx="820">
                  <c:v>41283</c:v>
                </c:pt>
                <c:pt idx="821">
                  <c:v>41284</c:v>
                </c:pt>
                <c:pt idx="822">
                  <c:v>41285</c:v>
                </c:pt>
                <c:pt idx="823">
                  <c:v>41288</c:v>
                </c:pt>
                <c:pt idx="824">
                  <c:v>41289</c:v>
                </c:pt>
                <c:pt idx="825">
                  <c:v>41290</c:v>
                </c:pt>
                <c:pt idx="826">
                  <c:v>41291</c:v>
                </c:pt>
                <c:pt idx="827">
                  <c:v>41292</c:v>
                </c:pt>
                <c:pt idx="828">
                  <c:v>41295</c:v>
                </c:pt>
                <c:pt idx="829">
                  <c:v>41296</c:v>
                </c:pt>
                <c:pt idx="830">
                  <c:v>41297</c:v>
                </c:pt>
                <c:pt idx="831">
                  <c:v>41298</c:v>
                </c:pt>
                <c:pt idx="832">
                  <c:v>41299</c:v>
                </c:pt>
                <c:pt idx="833">
                  <c:v>41302</c:v>
                </c:pt>
                <c:pt idx="834">
                  <c:v>41303</c:v>
                </c:pt>
                <c:pt idx="835">
                  <c:v>41304</c:v>
                </c:pt>
                <c:pt idx="836">
                  <c:v>41305</c:v>
                </c:pt>
                <c:pt idx="837">
                  <c:v>41306</c:v>
                </c:pt>
                <c:pt idx="838">
                  <c:v>41309</c:v>
                </c:pt>
                <c:pt idx="839">
                  <c:v>41310</c:v>
                </c:pt>
                <c:pt idx="840">
                  <c:v>41311</c:v>
                </c:pt>
                <c:pt idx="841">
                  <c:v>41312</c:v>
                </c:pt>
                <c:pt idx="842">
                  <c:v>41313</c:v>
                </c:pt>
                <c:pt idx="843">
                  <c:v>41316</c:v>
                </c:pt>
                <c:pt idx="844">
                  <c:v>41317</c:v>
                </c:pt>
                <c:pt idx="845">
                  <c:v>41318</c:v>
                </c:pt>
                <c:pt idx="846">
                  <c:v>41319</c:v>
                </c:pt>
                <c:pt idx="847">
                  <c:v>41320</c:v>
                </c:pt>
                <c:pt idx="848">
                  <c:v>41323</c:v>
                </c:pt>
                <c:pt idx="849">
                  <c:v>41324</c:v>
                </c:pt>
                <c:pt idx="850">
                  <c:v>41325</c:v>
                </c:pt>
                <c:pt idx="851">
                  <c:v>41326</c:v>
                </c:pt>
                <c:pt idx="852">
                  <c:v>41327</c:v>
                </c:pt>
                <c:pt idx="853">
                  <c:v>41330</c:v>
                </c:pt>
                <c:pt idx="854">
                  <c:v>41331</c:v>
                </c:pt>
                <c:pt idx="855">
                  <c:v>41332</c:v>
                </c:pt>
                <c:pt idx="856">
                  <c:v>41333</c:v>
                </c:pt>
                <c:pt idx="857">
                  <c:v>41334</c:v>
                </c:pt>
                <c:pt idx="858">
                  <c:v>41337</c:v>
                </c:pt>
                <c:pt idx="859">
                  <c:v>41338</c:v>
                </c:pt>
                <c:pt idx="860">
                  <c:v>41339</c:v>
                </c:pt>
                <c:pt idx="861">
                  <c:v>41340</c:v>
                </c:pt>
                <c:pt idx="862">
                  <c:v>41341</c:v>
                </c:pt>
                <c:pt idx="863">
                  <c:v>41344</c:v>
                </c:pt>
                <c:pt idx="864">
                  <c:v>41345</c:v>
                </c:pt>
                <c:pt idx="865">
                  <c:v>41346</c:v>
                </c:pt>
                <c:pt idx="866">
                  <c:v>41347</c:v>
                </c:pt>
                <c:pt idx="867">
                  <c:v>41348</c:v>
                </c:pt>
                <c:pt idx="868">
                  <c:v>41351</c:v>
                </c:pt>
                <c:pt idx="869">
                  <c:v>41352</c:v>
                </c:pt>
                <c:pt idx="870">
                  <c:v>41353</c:v>
                </c:pt>
                <c:pt idx="871">
                  <c:v>41354</c:v>
                </c:pt>
                <c:pt idx="872">
                  <c:v>41355</c:v>
                </c:pt>
                <c:pt idx="873">
                  <c:v>41358</c:v>
                </c:pt>
                <c:pt idx="874">
                  <c:v>41359</c:v>
                </c:pt>
                <c:pt idx="875">
                  <c:v>41360</c:v>
                </c:pt>
                <c:pt idx="876">
                  <c:v>41361</c:v>
                </c:pt>
                <c:pt idx="877">
                  <c:v>41366</c:v>
                </c:pt>
                <c:pt idx="878">
                  <c:v>41367</c:v>
                </c:pt>
                <c:pt idx="879">
                  <c:v>41368</c:v>
                </c:pt>
                <c:pt idx="880">
                  <c:v>41369</c:v>
                </c:pt>
                <c:pt idx="881">
                  <c:v>41372</c:v>
                </c:pt>
                <c:pt idx="882">
                  <c:v>41373</c:v>
                </c:pt>
                <c:pt idx="883">
                  <c:v>41374</c:v>
                </c:pt>
                <c:pt idx="884">
                  <c:v>41375</c:v>
                </c:pt>
                <c:pt idx="885">
                  <c:v>41376</c:v>
                </c:pt>
                <c:pt idx="886">
                  <c:v>41379</c:v>
                </c:pt>
                <c:pt idx="887">
                  <c:v>41380</c:v>
                </c:pt>
                <c:pt idx="888">
                  <c:v>41381</c:v>
                </c:pt>
                <c:pt idx="889">
                  <c:v>41382</c:v>
                </c:pt>
                <c:pt idx="890">
                  <c:v>41383</c:v>
                </c:pt>
                <c:pt idx="891">
                  <c:v>41386</c:v>
                </c:pt>
                <c:pt idx="892">
                  <c:v>41387</c:v>
                </c:pt>
                <c:pt idx="893">
                  <c:v>41388</c:v>
                </c:pt>
                <c:pt idx="894">
                  <c:v>41389</c:v>
                </c:pt>
                <c:pt idx="895">
                  <c:v>41390</c:v>
                </c:pt>
                <c:pt idx="896">
                  <c:v>41393</c:v>
                </c:pt>
                <c:pt idx="897">
                  <c:v>41394</c:v>
                </c:pt>
                <c:pt idx="898">
                  <c:v>41395</c:v>
                </c:pt>
                <c:pt idx="899">
                  <c:v>41396</c:v>
                </c:pt>
                <c:pt idx="900">
                  <c:v>41397</c:v>
                </c:pt>
                <c:pt idx="901">
                  <c:v>41400</c:v>
                </c:pt>
                <c:pt idx="902">
                  <c:v>41401</c:v>
                </c:pt>
                <c:pt idx="903">
                  <c:v>41402</c:v>
                </c:pt>
                <c:pt idx="904">
                  <c:v>41403</c:v>
                </c:pt>
                <c:pt idx="905">
                  <c:v>41404</c:v>
                </c:pt>
                <c:pt idx="906">
                  <c:v>41407</c:v>
                </c:pt>
                <c:pt idx="907">
                  <c:v>41408</c:v>
                </c:pt>
                <c:pt idx="908">
                  <c:v>41409</c:v>
                </c:pt>
                <c:pt idx="909">
                  <c:v>41410</c:v>
                </c:pt>
                <c:pt idx="910">
                  <c:v>41411</c:v>
                </c:pt>
                <c:pt idx="911">
                  <c:v>41414</c:v>
                </c:pt>
                <c:pt idx="912">
                  <c:v>41415</c:v>
                </c:pt>
                <c:pt idx="913">
                  <c:v>41416</c:v>
                </c:pt>
                <c:pt idx="914">
                  <c:v>41417</c:v>
                </c:pt>
                <c:pt idx="915">
                  <c:v>41418</c:v>
                </c:pt>
                <c:pt idx="916">
                  <c:v>41421</c:v>
                </c:pt>
                <c:pt idx="917">
                  <c:v>41422</c:v>
                </c:pt>
                <c:pt idx="918">
                  <c:v>41423</c:v>
                </c:pt>
                <c:pt idx="919">
                  <c:v>41424</c:v>
                </c:pt>
                <c:pt idx="920">
                  <c:v>41425</c:v>
                </c:pt>
                <c:pt idx="921">
                  <c:v>41428</c:v>
                </c:pt>
                <c:pt idx="922">
                  <c:v>41429</c:v>
                </c:pt>
                <c:pt idx="923">
                  <c:v>41430</c:v>
                </c:pt>
                <c:pt idx="924">
                  <c:v>41431</c:v>
                </c:pt>
                <c:pt idx="925">
                  <c:v>41432</c:v>
                </c:pt>
                <c:pt idx="926">
                  <c:v>41435</c:v>
                </c:pt>
                <c:pt idx="927">
                  <c:v>41436</c:v>
                </c:pt>
                <c:pt idx="928">
                  <c:v>41437</c:v>
                </c:pt>
                <c:pt idx="929">
                  <c:v>41438</c:v>
                </c:pt>
                <c:pt idx="930">
                  <c:v>41439</c:v>
                </c:pt>
                <c:pt idx="931">
                  <c:v>41442</c:v>
                </c:pt>
                <c:pt idx="932">
                  <c:v>41443</c:v>
                </c:pt>
                <c:pt idx="933">
                  <c:v>41444</c:v>
                </c:pt>
                <c:pt idx="934">
                  <c:v>41445</c:v>
                </c:pt>
                <c:pt idx="935">
                  <c:v>41446</c:v>
                </c:pt>
                <c:pt idx="936">
                  <c:v>41449</c:v>
                </c:pt>
                <c:pt idx="937">
                  <c:v>41450</c:v>
                </c:pt>
                <c:pt idx="938">
                  <c:v>41451</c:v>
                </c:pt>
                <c:pt idx="939">
                  <c:v>41452</c:v>
                </c:pt>
                <c:pt idx="940">
                  <c:v>41453</c:v>
                </c:pt>
                <c:pt idx="941">
                  <c:v>41456</c:v>
                </c:pt>
                <c:pt idx="942">
                  <c:v>41457</c:v>
                </c:pt>
                <c:pt idx="943">
                  <c:v>41458</c:v>
                </c:pt>
                <c:pt idx="944">
                  <c:v>41459</c:v>
                </c:pt>
                <c:pt idx="945">
                  <c:v>41460</c:v>
                </c:pt>
                <c:pt idx="946">
                  <c:v>41463</c:v>
                </c:pt>
                <c:pt idx="947">
                  <c:v>41464</c:v>
                </c:pt>
                <c:pt idx="948">
                  <c:v>41465</c:v>
                </c:pt>
                <c:pt idx="949">
                  <c:v>41466</c:v>
                </c:pt>
                <c:pt idx="950">
                  <c:v>41467</c:v>
                </c:pt>
                <c:pt idx="951">
                  <c:v>41470</c:v>
                </c:pt>
                <c:pt idx="952">
                  <c:v>41471</c:v>
                </c:pt>
                <c:pt idx="953">
                  <c:v>41472</c:v>
                </c:pt>
                <c:pt idx="954">
                  <c:v>41473</c:v>
                </c:pt>
                <c:pt idx="955">
                  <c:v>41474</c:v>
                </c:pt>
                <c:pt idx="956">
                  <c:v>41477</c:v>
                </c:pt>
                <c:pt idx="957">
                  <c:v>41478</c:v>
                </c:pt>
                <c:pt idx="958">
                  <c:v>41479</c:v>
                </c:pt>
                <c:pt idx="959">
                  <c:v>41480</c:v>
                </c:pt>
                <c:pt idx="960">
                  <c:v>41481</c:v>
                </c:pt>
                <c:pt idx="961">
                  <c:v>41484</c:v>
                </c:pt>
                <c:pt idx="962">
                  <c:v>41485</c:v>
                </c:pt>
                <c:pt idx="963">
                  <c:v>41486</c:v>
                </c:pt>
                <c:pt idx="964">
                  <c:v>41487</c:v>
                </c:pt>
                <c:pt idx="965">
                  <c:v>41488</c:v>
                </c:pt>
                <c:pt idx="966">
                  <c:v>41491</c:v>
                </c:pt>
                <c:pt idx="967">
                  <c:v>41492</c:v>
                </c:pt>
                <c:pt idx="968">
                  <c:v>41493</c:v>
                </c:pt>
                <c:pt idx="969">
                  <c:v>41494</c:v>
                </c:pt>
                <c:pt idx="970">
                  <c:v>41495</c:v>
                </c:pt>
                <c:pt idx="971">
                  <c:v>41498</c:v>
                </c:pt>
                <c:pt idx="972">
                  <c:v>41499</c:v>
                </c:pt>
                <c:pt idx="973">
                  <c:v>41500</c:v>
                </c:pt>
                <c:pt idx="974">
                  <c:v>41501</c:v>
                </c:pt>
                <c:pt idx="975">
                  <c:v>41502</c:v>
                </c:pt>
                <c:pt idx="976">
                  <c:v>41505</c:v>
                </c:pt>
                <c:pt idx="977">
                  <c:v>41506</c:v>
                </c:pt>
                <c:pt idx="978">
                  <c:v>41507</c:v>
                </c:pt>
                <c:pt idx="979">
                  <c:v>41508</c:v>
                </c:pt>
                <c:pt idx="980">
                  <c:v>41509</c:v>
                </c:pt>
                <c:pt idx="981">
                  <c:v>41512</c:v>
                </c:pt>
                <c:pt idx="982">
                  <c:v>41513</c:v>
                </c:pt>
                <c:pt idx="983">
                  <c:v>41514</c:v>
                </c:pt>
                <c:pt idx="984">
                  <c:v>41515</c:v>
                </c:pt>
                <c:pt idx="985">
                  <c:v>41516</c:v>
                </c:pt>
                <c:pt idx="986">
                  <c:v>41519</c:v>
                </c:pt>
                <c:pt idx="987">
                  <c:v>41520</c:v>
                </c:pt>
                <c:pt idx="988">
                  <c:v>41521</c:v>
                </c:pt>
                <c:pt idx="989">
                  <c:v>41522</c:v>
                </c:pt>
                <c:pt idx="990">
                  <c:v>41523</c:v>
                </c:pt>
                <c:pt idx="991">
                  <c:v>41526</c:v>
                </c:pt>
                <c:pt idx="992">
                  <c:v>41527</c:v>
                </c:pt>
                <c:pt idx="993">
                  <c:v>41528</c:v>
                </c:pt>
                <c:pt idx="994">
                  <c:v>41529</c:v>
                </c:pt>
                <c:pt idx="995">
                  <c:v>41530</c:v>
                </c:pt>
                <c:pt idx="996">
                  <c:v>41533</c:v>
                </c:pt>
                <c:pt idx="997">
                  <c:v>41534</c:v>
                </c:pt>
                <c:pt idx="998">
                  <c:v>41535</c:v>
                </c:pt>
                <c:pt idx="999">
                  <c:v>41536</c:v>
                </c:pt>
                <c:pt idx="1000">
                  <c:v>41537</c:v>
                </c:pt>
                <c:pt idx="1001">
                  <c:v>41540</c:v>
                </c:pt>
                <c:pt idx="1002">
                  <c:v>41541</c:v>
                </c:pt>
                <c:pt idx="1003">
                  <c:v>41542</c:v>
                </c:pt>
                <c:pt idx="1004">
                  <c:v>41543</c:v>
                </c:pt>
                <c:pt idx="1005">
                  <c:v>41544</c:v>
                </c:pt>
                <c:pt idx="1006">
                  <c:v>41547</c:v>
                </c:pt>
                <c:pt idx="1007">
                  <c:v>41548</c:v>
                </c:pt>
                <c:pt idx="1008">
                  <c:v>41549</c:v>
                </c:pt>
                <c:pt idx="1009">
                  <c:v>41550</c:v>
                </c:pt>
                <c:pt idx="1010">
                  <c:v>41551</c:v>
                </c:pt>
                <c:pt idx="1011">
                  <c:v>41554</c:v>
                </c:pt>
                <c:pt idx="1012">
                  <c:v>41555</c:v>
                </c:pt>
                <c:pt idx="1013">
                  <c:v>41556</c:v>
                </c:pt>
                <c:pt idx="1014">
                  <c:v>41557</c:v>
                </c:pt>
                <c:pt idx="1015">
                  <c:v>41558</c:v>
                </c:pt>
                <c:pt idx="1016">
                  <c:v>41561</c:v>
                </c:pt>
                <c:pt idx="1017">
                  <c:v>41562</c:v>
                </c:pt>
                <c:pt idx="1018">
                  <c:v>41563</c:v>
                </c:pt>
                <c:pt idx="1019">
                  <c:v>41564</c:v>
                </c:pt>
                <c:pt idx="1020">
                  <c:v>41565</c:v>
                </c:pt>
                <c:pt idx="1021">
                  <c:v>41568</c:v>
                </c:pt>
                <c:pt idx="1022">
                  <c:v>41569</c:v>
                </c:pt>
                <c:pt idx="1023">
                  <c:v>41570</c:v>
                </c:pt>
                <c:pt idx="1024">
                  <c:v>41571</c:v>
                </c:pt>
                <c:pt idx="1025">
                  <c:v>41572</c:v>
                </c:pt>
                <c:pt idx="1026">
                  <c:v>41575</c:v>
                </c:pt>
                <c:pt idx="1027">
                  <c:v>41576</c:v>
                </c:pt>
                <c:pt idx="1028">
                  <c:v>41577</c:v>
                </c:pt>
                <c:pt idx="1029">
                  <c:v>41578</c:v>
                </c:pt>
                <c:pt idx="1030">
                  <c:v>41579</c:v>
                </c:pt>
                <c:pt idx="1031">
                  <c:v>41582</c:v>
                </c:pt>
                <c:pt idx="1032">
                  <c:v>41583</c:v>
                </c:pt>
                <c:pt idx="1033">
                  <c:v>41584</c:v>
                </c:pt>
                <c:pt idx="1034">
                  <c:v>41585</c:v>
                </c:pt>
                <c:pt idx="1035">
                  <c:v>41586</c:v>
                </c:pt>
                <c:pt idx="1036">
                  <c:v>41589</c:v>
                </c:pt>
                <c:pt idx="1037">
                  <c:v>41590</c:v>
                </c:pt>
                <c:pt idx="1038">
                  <c:v>41591</c:v>
                </c:pt>
                <c:pt idx="1039">
                  <c:v>41592</c:v>
                </c:pt>
                <c:pt idx="1040">
                  <c:v>41593</c:v>
                </c:pt>
                <c:pt idx="1041">
                  <c:v>41596</c:v>
                </c:pt>
                <c:pt idx="1042">
                  <c:v>41597</c:v>
                </c:pt>
                <c:pt idx="1043">
                  <c:v>41598</c:v>
                </c:pt>
                <c:pt idx="1044">
                  <c:v>41599</c:v>
                </c:pt>
                <c:pt idx="1045">
                  <c:v>41600</c:v>
                </c:pt>
                <c:pt idx="1046">
                  <c:v>41603</c:v>
                </c:pt>
                <c:pt idx="1047">
                  <c:v>41604</c:v>
                </c:pt>
                <c:pt idx="1048">
                  <c:v>41605</c:v>
                </c:pt>
                <c:pt idx="1049">
                  <c:v>41606</c:v>
                </c:pt>
                <c:pt idx="1050">
                  <c:v>41607</c:v>
                </c:pt>
                <c:pt idx="1051">
                  <c:v>41610</c:v>
                </c:pt>
                <c:pt idx="1052">
                  <c:v>41611</c:v>
                </c:pt>
                <c:pt idx="1053">
                  <c:v>41612</c:v>
                </c:pt>
                <c:pt idx="1054">
                  <c:v>41613</c:v>
                </c:pt>
                <c:pt idx="1055">
                  <c:v>41614</c:v>
                </c:pt>
                <c:pt idx="1056">
                  <c:v>41617</c:v>
                </c:pt>
                <c:pt idx="1057">
                  <c:v>41618</c:v>
                </c:pt>
                <c:pt idx="1058">
                  <c:v>41619</c:v>
                </c:pt>
                <c:pt idx="1059">
                  <c:v>41620</c:v>
                </c:pt>
                <c:pt idx="1060">
                  <c:v>41621</c:v>
                </c:pt>
                <c:pt idx="1061">
                  <c:v>41624</c:v>
                </c:pt>
                <c:pt idx="1062">
                  <c:v>41625</c:v>
                </c:pt>
                <c:pt idx="1063">
                  <c:v>41626</c:v>
                </c:pt>
                <c:pt idx="1064">
                  <c:v>41627</c:v>
                </c:pt>
                <c:pt idx="1065">
                  <c:v>41628</c:v>
                </c:pt>
                <c:pt idx="1066">
                  <c:v>41631</c:v>
                </c:pt>
                <c:pt idx="1067">
                  <c:v>41632</c:v>
                </c:pt>
                <c:pt idx="1068">
                  <c:v>41635</c:v>
                </c:pt>
                <c:pt idx="1069">
                  <c:v>41638</c:v>
                </c:pt>
                <c:pt idx="1070">
                  <c:v>41639</c:v>
                </c:pt>
                <c:pt idx="1071">
                  <c:v>41641</c:v>
                </c:pt>
                <c:pt idx="1072">
                  <c:v>41642</c:v>
                </c:pt>
                <c:pt idx="1073">
                  <c:v>41645</c:v>
                </c:pt>
                <c:pt idx="1074">
                  <c:v>41646</c:v>
                </c:pt>
                <c:pt idx="1075">
                  <c:v>41647</c:v>
                </c:pt>
                <c:pt idx="1076">
                  <c:v>41648</c:v>
                </c:pt>
                <c:pt idx="1077">
                  <c:v>41649</c:v>
                </c:pt>
                <c:pt idx="1078">
                  <c:v>41652</c:v>
                </c:pt>
                <c:pt idx="1079">
                  <c:v>41653</c:v>
                </c:pt>
                <c:pt idx="1080">
                  <c:v>41654</c:v>
                </c:pt>
                <c:pt idx="1081">
                  <c:v>41655</c:v>
                </c:pt>
                <c:pt idx="1082">
                  <c:v>41656</c:v>
                </c:pt>
                <c:pt idx="1083">
                  <c:v>41659</c:v>
                </c:pt>
                <c:pt idx="1084">
                  <c:v>41660</c:v>
                </c:pt>
                <c:pt idx="1085">
                  <c:v>41661</c:v>
                </c:pt>
                <c:pt idx="1086">
                  <c:v>41662</c:v>
                </c:pt>
                <c:pt idx="1087">
                  <c:v>41663</c:v>
                </c:pt>
                <c:pt idx="1088">
                  <c:v>41666</c:v>
                </c:pt>
                <c:pt idx="1089">
                  <c:v>41667</c:v>
                </c:pt>
                <c:pt idx="1090">
                  <c:v>41668</c:v>
                </c:pt>
                <c:pt idx="1091">
                  <c:v>41669</c:v>
                </c:pt>
                <c:pt idx="1092">
                  <c:v>41670</c:v>
                </c:pt>
                <c:pt idx="1093">
                  <c:v>41673</c:v>
                </c:pt>
                <c:pt idx="1094">
                  <c:v>41674</c:v>
                </c:pt>
                <c:pt idx="1095">
                  <c:v>41675</c:v>
                </c:pt>
                <c:pt idx="1096">
                  <c:v>41676</c:v>
                </c:pt>
                <c:pt idx="1097">
                  <c:v>41677</c:v>
                </c:pt>
                <c:pt idx="1098">
                  <c:v>41680</c:v>
                </c:pt>
                <c:pt idx="1099">
                  <c:v>41681</c:v>
                </c:pt>
                <c:pt idx="1100">
                  <c:v>41682</c:v>
                </c:pt>
                <c:pt idx="1101">
                  <c:v>41683</c:v>
                </c:pt>
                <c:pt idx="1102">
                  <c:v>41684</c:v>
                </c:pt>
                <c:pt idx="1103">
                  <c:v>41687</c:v>
                </c:pt>
                <c:pt idx="1104">
                  <c:v>41688</c:v>
                </c:pt>
                <c:pt idx="1105">
                  <c:v>41689</c:v>
                </c:pt>
                <c:pt idx="1106">
                  <c:v>41690</c:v>
                </c:pt>
                <c:pt idx="1107">
                  <c:v>41691</c:v>
                </c:pt>
                <c:pt idx="1108">
                  <c:v>41694</c:v>
                </c:pt>
                <c:pt idx="1109">
                  <c:v>41695</c:v>
                </c:pt>
                <c:pt idx="1110">
                  <c:v>41696</c:v>
                </c:pt>
                <c:pt idx="1111">
                  <c:v>41697</c:v>
                </c:pt>
                <c:pt idx="1112">
                  <c:v>41698</c:v>
                </c:pt>
                <c:pt idx="1113">
                  <c:v>41701</c:v>
                </c:pt>
                <c:pt idx="1114">
                  <c:v>41702</c:v>
                </c:pt>
                <c:pt idx="1115">
                  <c:v>41703</c:v>
                </c:pt>
                <c:pt idx="1116">
                  <c:v>41704</c:v>
                </c:pt>
                <c:pt idx="1117">
                  <c:v>41705</c:v>
                </c:pt>
                <c:pt idx="1118">
                  <c:v>41708</c:v>
                </c:pt>
                <c:pt idx="1119">
                  <c:v>41709</c:v>
                </c:pt>
                <c:pt idx="1120">
                  <c:v>41710</c:v>
                </c:pt>
                <c:pt idx="1121">
                  <c:v>41711</c:v>
                </c:pt>
                <c:pt idx="1122">
                  <c:v>41712</c:v>
                </c:pt>
                <c:pt idx="1123">
                  <c:v>41715</c:v>
                </c:pt>
                <c:pt idx="1124">
                  <c:v>41716</c:v>
                </c:pt>
                <c:pt idx="1125">
                  <c:v>41717</c:v>
                </c:pt>
                <c:pt idx="1126">
                  <c:v>41718</c:v>
                </c:pt>
                <c:pt idx="1127">
                  <c:v>41719</c:v>
                </c:pt>
                <c:pt idx="1128">
                  <c:v>41722</c:v>
                </c:pt>
                <c:pt idx="1129">
                  <c:v>41723</c:v>
                </c:pt>
                <c:pt idx="1130">
                  <c:v>41724</c:v>
                </c:pt>
                <c:pt idx="1131">
                  <c:v>41725</c:v>
                </c:pt>
                <c:pt idx="1132">
                  <c:v>41726</c:v>
                </c:pt>
                <c:pt idx="1133">
                  <c:v>41729</c:v>
                </c:pt>
                <c:pt idx="1134">
                  <c:v>41730</c:v>
                </c:pt>
                <c:pt idx="1135">
                  <c:v>41731</c:v>
                </c:pt>
                <c:pt idx="1136">
                  <c:v>41732</c:v>
                </c:pt>
                <c:pt idx="1137">
                  <c:v>41733</c:v>
                </c:pt>
                <c:pt idx="1138">
                  <c:v>41736</c:v>
                </c:pt>
                <c:pt idx="1139">
                  <c:v>41737</c:v>
                </c:pt>
                <c:pt idx="1140">
                  <c:v>41738</c:v>
                </c:pt>
                <c:pt idx="1141">
                  <c:v>41739</c:v>
                </c:pt>
                <c:pt idx="1142">
                  <c:v>41740</c:v>
                </c:pt>
                <c:pt idx="1143">
                  <c:v>41743</c:v>
                </c:pt>
                <c:pt idx="1144">
                  <c:v>41744</c:v>
                </c:pt>
                <c:pt idx="1145">
                  <c:v>41745</c:v>
                </c:pt>
                <c:pt idx="1146">
                  <c:v>41746</c:v>
                </c:pt>
                <c:pt idx="1147">
                  <c:v>41751</c:v>
                </c:pt>
                <c:pt idx="1148">
                  <c:v>41752</c:v>
                </c:pt>
                <c:pt idx="1149">
                  <c:v>41753</c:v>
                </c:pt>
                <c:pt idx="1150">
                  <c:v>41754</c:v>
                </c:pt>
                <c:pt idx="1151">
                  <c:v>41757</c:v>
                </c:pt>
                <c:pt idx="1152">
                  <c:v>41758</c:v>
                </c:pt>
                <c:pt idx="1153">
                  <c:v>41759</c:v>
                </c:pt>
                <c:pt idx="1154">
                  <c:v>41760</c:v>
                </c:pt>
                <c:pt idx="1155">
                  <c:v>41761</c:v>
                </c:pt>
                <c:pt idx="1156">
                  <c:v>41764</c:v>
                </c:pt>
                <c:pt idx="1157">
                  <c:v>41765</c:v>
                </c:pt>
                <c:pt idx="1158">
                  <c:v>41766</c:v>
                </c:pt>
                <c:pt idx="1159">
                  <c:v>41767</c:v>
                </c:pt>
                <c:pt idx="1160">
                  <c:v>41768</c:v>
                </c:pt>
                <c:pt idx="1161">
                  <c:v>41771</c:v>
                </c:pt>
                <c:pt idx="1162">
                  <c:v>41772</c:v>
                </c:pt>
                <c:pt idx="1163">
                  <c:v>41773</c:v>
                </c:pt>
                <c:pt idx="1164">
                  <c:v>41774</c:v>
                </c:pt>
                <c:pt idx="1165">
                  <c:v>41775</c:v>
                </c:pt>
                <c:pt idx="1166">
                  <c:v>41778</c:v>
                </c:pt>
                <c:pt idx="1167">
                  <c:v>41779</c:v>
                </c:pt>
                <c:pt idx="1168">
                  <c:v>41780</c:v>
                </c:pt>
                <c:pt idx="1169">
                  <c:v>41781</c:v>
                </c:pt>
                <c:pt idx="1170">
                  <c:v>41782</c:v>
                </c:pt>
                <c:pt idx="1171">
                  <c:v>41785</c:v>
                </c:pt>
                <c:pt idx="1172">
                  <c:v>41786</c:v>
                </c:pt>
                <c:pt idx="1173">
                  <c:v>41787</c:v>
                </c:pt>
                <c:pt idx="1174">
                  <c:v>41788</c:v>
                </c:pt>
                <c:pt idx="1175">
                  <c:v>41789</c:v>
                </c:pt>
                <c:pt idx="1176">
                  <c:v>41792</c:v>
                </c:pt>
                <c:pt idx="1177">
                  <c:v>41793</c:v>
                </c:pt>
                <c:pt idx="1178">
                  <c:v>41794</c:v>
                </c:pt>
                <c:pt idx="1179">
                  <c:v>41795</c:v>
                </c:pt>
                <c:pt idx="1180">
                  <c:v>41796</c:v>
                </c:pt>
                <c:pt idx="1181">
                  <c:v>41799</c:v>
                </c:pt>
                <c:pt idx="1182">
                  <c:v>41800</c:v>
                </c:pt>
                <c:pt idx="1183">
                  <c:v>41801</c:v>
                </c:pt>
                <c:pt idx="1184">
                  <c:v>41802</c:v>
                </c:pt>
                <c:pt idx="1185">
                  <c:v>41803</c:v>
                </c:pt>
                <c:pt idx="1186">
                  <c:v>41806</c:v>
                </c:pt>
                <c:pt idx="1187">
                  <c:v>41807</c:v>
                </c:pt>
                <c:pt idx="1188">
                  <c:v>41808</c:v>
                </c:pt>
                <c:pt idx="1189">
                  <c:v>41809</c:v>
                </c:pt>
                <c:pt idx="1190">
                  <c:v>41810</c:v>
                </c:pt>
                <c:pt idx="1191">
                  <c:v>41813</c:v>
                </c:pt>
                <c:pt idx="1192">
                  <c:v>41814</c:v>
                </c:pt>
                <c:pt idx="1193">
                  <c:v>41815</c:v>
                </c:pt>
                <c:pt idx="1194">
                  <c:v>41816</c:v>
                </c:pt>
                <c:pt idx="1195">
                  <c:v>41817</c:v>
                </c:pt>
                <c:pt idx="1196">
                  <c:v>41820</c:v>
                </c:pt>
                <c:pt idx="1197">
                  <c:v>41821</c:v>
                </c:pt>
                <c:pt idx="1198">
                  <c:v>41822</c:v>
                </c:pt>
                <c:pt idx="1199">
                  <c:v>41823</c:v>
                </c:pt>
                <c:pt idx="1200">
                  <c:v>41824</c:v>
                </c:pt>
                <c:pt idx="1201">
                  <c:v>41827</c:v>
                </c:pt>
                <c:pt idx="1202">
                  <c:v>41828</c:v>
                </c:pt>
                <c:pt idx="1203">
                  <c:v>41829</c:v>
                </c:pt>
                <c:pt idx="1204">
                  <c:v>41830</c:v>
                </c:pt>
                <c:pt idx="1205">
                  <c:v>41831</c:v>
                </c:pt>
                <c:pt idx="1206">
                  <c:v>41834</c:v>
                </c:pt>
                <c:pt idx="1207">
                  <c:v>41835</c:v>
                </c:pt>
                <c:pt idx="1208">
                  <c:v>41836</c:v>
                </c:pt>
                <c:pt idx="1209">
                  <c:v>41837</c:v>
                </c:pt>
                <c:pt idx="1210">
                  <c:v>41838</c:v>
                </c:pt>
                <c:pt idx="1211">
                  <c:v>41841</c:v>
                </c:pt>
                <c:pt idx="1212">
                  <c:v>41842</c:v>
                </c:pt>
                <c:pt idx="1213">
                  <c:v>41843</c:v>
                </c:pt>
                <c:pt idx="1214">
                  <c:v>41844</c:v>
                </c:pt>
                <c:pt idx="1215">
                  <c:v>41845</c:v>
                </c:pt>
                <c:pt idx="1216">
                  <c:v>41848</c:v>
                </c:pt>
                <c:pt idx="1217">
                  <c:v>41849</c:v>
                </c:pt>
                <c:pt idx="1218">
                  <c:v>41850</c:v>
                </c:pt>
                <c:pt idx="1219">
                  <c:v>41851</c:v>
                </c:pt>
                <c:pt idx="1220">
                  <c:v>41852</c:v>
                </c:pt>
                <c:pt idx="1221">
                  <c:v>41855</c:v>
                </c:pt>
                <c:pt idx="1222">
                  <c:v>41856</c:v>
                </c:pt>
                <c:pt idx="1223">
                  <c:v>41857</c:v>
                </c:pt>
                <c:pt idx="1224">
                  <c:v>41858</c:v>
                </c:pt>
                <c:pt idx="1225">
                  <c:v>41859</c:v>
                </c:pt>
                <c:pt idx="1226">
                  <c:v>41862</c:v>
                </c:pt>
                <c:pt idx="1227">
                  <c:v>41863</c:v>
                </c:pt>
                <c:pt idx="1228">
                  <c:v>41864</c:v>
                </c:pt>
                <c:pt idx="1229">
                  <c:v>41865</c:v>
                </c:pt>
                <c:pt idx="1230">
                  <c:v>41866</c:v>
                </c:pt>
                <c:pt idx="1231">
                  <c:v>41869</c:v>
                </c:pt>
                <c:pt idx="1232">
                  <c:v>41870</c:v>
                </c:pt>
                <c:pt idx="1233">
                  <c:v>41871</c:v>
                </c:pt>
                <c:pt idx="1234">
                  <c:v>41872</c:v>
                </c:pt>
                <c:pt idx="1235">
                  <c:v>41873</c:v>
                </c:pt>
                <c:pt idx="1236">
                  <c:v>41876</c:v>
                </c:pt>
                <c:pt idx="1237">
                  <c:v>41877</c:v>
                </c:pt>
                <c:pt idx="1238">
                  <c:v>41878</c:v>
                </c:pt>
                <c:pt idx="1239">
                  <c:v>41879</c:v>
                </c:pt>
                <c:pt idx="1240">
                  <c:v>41880</c:v>
                </c:pt>
                <c:pt idx="1241">
                  <c:v>41883</c:v>
                </c:pt>
                <c:pt idx="1242">
                  <c:v>41884</c:v>
                </c:pt>
                <c:pt idx="1243">
                  <c:v>41885</c:v>
                </c:pt>
                <c:pt idx="1244">
                  <c:v>41886</c:v>
                </c:pt>
                <c:pt idx="1245">
                  <c:v>41887</c:v>
                </c:pt>
              </c:numCache>
            </c:numRef>
          </c:cat>
          <c:val>
            <c:numRef>
              <c:f>Sheet1!$D$2:$D$1247</c:f>
              <c:numCache>
                <c:formatCode>General</c:formatCode>
                <c:ptCount val="1246"/>
              </c:numCache>
            </c:numRef>
          </c:val>
          <c:smooth val="0"/>
        </c:ser>
        <c:dLbls>
          <c:showLegendKey val="0"/>
          <c:showVal val="0"/>
          <c:showCatName val="0"/>
          <c:showSerName val="0"/>
          <c:showPercent val="0"/>
          <c:showBubbleSize val="0"/>
        </c:dLbls>
        <c:marker val="1"/>
        <c:smooth val="0"/>
        <c:axId val="35160832"/>
        <c:axId val="35162368"/>
      </c:lineChart>
      <c:dateAx>
        <c:axId val="35160832"/>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35162368"/>
        <c:crosses val="autoZero"/>
        <c:auto val="1"/>
        <c:lblOffset val="100"/>
        <c:baseTimeUnit val="days"/>
      </c:dateAx>
      <c:valAx>
        <c:axId val="35162368"/>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35160832"/>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8</c:f>
              <c:strCache>
                <c:ptCount val="7"/>
                <c:pt idx="0">
                  <c:v>Health Care</c:v>
                </c:pt>
                <c:pt idx="1">
                  <c:v>Industrials</c:v>
                </c:pt>
                <c:pt idx="2">
                  <c:v>Consumer Services</c:v>
                </c:pt>
                <c:pt idx="3">
                  <c:v>Oil &amp; Gas</c:v>
                </c:pt>
                <c:pt idx="4">
                  <c:v>Telecommunications</c:v>
                </c:pt>
                <c:pt idx="5">
                  <c:v>Utilities</c:v>
                </c:pt>
                <c:pt idx="6">
                  <c:v>Financials</c:v>
                </c:pt>
              </c:strCache>
            </c:strRef>
          </c:cat>
          <c:val>
            <c:numRef>
              <c:f>Sheet1!$B$2:$B$8</c:f>
              <c:numCache>
                <c:formatCode>0.00%</c:formatCode>
                <c:ptCount val="7"/>
                <c:pt idx="0">
                  <c:v>6.0557600000000003E-2</c:v>
                </c:pt>
                <c:pt idx="1">
                  <c:v>6.96933E-2</c:v>
                </c:pt>
                <c:pt idx="2">
                  <c:v>7.4928599999999998E-2</c:v>
                </c:pt>
                <c:pt idx="3">
                  <c:v>0.10485480000000001</c:v>
                </c:pt>
                <c:pt idx="4">
                  <c:v>0.1294883</c:v>
                </c:pt>
                <c:pt idx="5">
                  <c:v>0.14770709999999998</c:v>
                </c:pt>
                <c:pt idx="6">
                  <c:v>0.41277019999999992</c:v>
                </c:pt>
              </c:numCache>
            </c:numRef>
          </c:val>
        </c:ser>
        <c:dLbls>
          <c:showLegendKey val="0"/>
          <c:showVal val="0"/>
          <c:showCatName val="0"/>
          <c:showSerName val="0"/>
          <c:showPercent val="0"/>
          <c:showBubbleSize val="0"/>
        </c:dLbls>
        <c:gapWidth val="150"/>
        <c:axId val="256654720"/>
        <c:axId val="256660608"/>
      </c:barChart>
      <c:catAx>
        <c:axId val="256654720"/>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56660608"/>
        <c:crosses val="autoZero"/>
        <c:auto val="1"/>
        <c:lblAlgn val="ctr"/>
        <c:lblOffset val="100"/>
        <c:noMultiLvlLbl val="0"/>
      </c:catAx>
      <c:valAx>
        <c:axId val="256660608"/>
        <c:scaling>
          <c:orientation val="minMax"/>
        </c:scaling>
        <c:delete val="1"/>
        <c:axPos val="b"/>
        <c:numFmt formatCode="0.00%" sourceLinked="1"/>
        <c:majorTickMark val="out"/>
        <c:minorTickMark val="none"/>
        <c:tickLblPos val="nextTo"/>
        <c:crossAx val="256654720"/>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1</c:f>
              <c:strCache>
                <c:ptCount val="10"/>
                <c:pt idx="0">
                  <c:v>Sweden</c:v>
                </c:pt>
                <c:pt idx="1">
                  <c:v>Netherlands</c:v>
                </c:pt>
                <c:pt idx="2">
                  <c:v>Italy</c:v>
                </c:pt>
                <c:pt idx="3">
                  <c:v>Norway</c:v>
                </c:pt>
                <c:pt idx="4">
                  <c:v>Spain</c:v>
                </c:pt>
                <c:pt idx="5">
                  <c:v>Germany</c:v>
                </c:pt>
                <c:pt idx="6">
                  <c:v>Belgium</c:v>
                </c:pt>
                <c:pt idx="7">
                  <c:v>France</c:v>
                </c:pt>
                <c:pt idx="8">
                  <c:v>Switzerland</c:v>
                </c:pt>
                <c:pt idx="9">
                  <c:v>Great Britain</c:v>
                </c:pt>
              </c:strCache>
            </c:strRef>
          </c:cat>
          <c:val>
            <c:numRef>
              <c:f>Sheet1!$B$2:$B$11</c:f>
              <c:numCache>
                <c:formatCode>0.00%</c:formatCode>
                <c:ptCount val="10"/>
                <c:pt idx="0">
                  <c:v>1.8126899999999998E-2</c:v>
                </c:pt>
                <c:pt idx="1">
                  <c:v>2.00568E-2</c:v>
                </c:pt>
                <c:pt idx="2">
                  <c:v>2.9641899999999999E-2</c:v>
                </c:pt>
                <c:pt idx="3">
                  <c:v>4.9226699999999998E-2</c:v>
                </c:pt>
                <c:pt idx="4">
                  <c:v>5.1585599999999995E-2</c:v>
                </c:pt>
                <c:pt idx="5">
                  <c:v>6.1222899999999997E-2</c:v>
                </c:pt>
                <c:pt idx="6">
                  <c:v>6.6988400000000003E-2</c:v>
                </c:pt>
                <c:pt idx="7">
                  <c:v>0.1152065</c:v>
                </c:pt>
                <c:pt idx="8">
                  <c:v>0.17724219999999999</c:v>
                </c:pt>
                <c:pt idx="9">
                  <c:v>0.41070200000000001</c:v>
                </c:pt>
              </c:numCache>
            </c:numRef>
          </c:val>
        </c:ser>
        <c:dLbls>
          <c:showLegendKey val="0"/>
          <c:showVal val="0"/>
          <c:showCatName val="0"/>
          <c:showSerName val="0"/>
          <c:showPercent val="0"/>
          <c:showBubbleSize val="0"/>
        </c:dLbls>
        <c:gapWidth val="150"/>
        <c:axId val="259574400"/>
        <c:axId val="259581824"/>
      </c:barChart>
      <c:catAx>
        <c:axId val="259574400"/>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59581824"/>
        <c:crosses val="autoZero"/>
        <c:auto val="1"/>
        <c:lblAlgn val="ctr"/>
        <c:lblOffset val="100"/>
        <c:noMultiLvlLbl val="0"/>
      </c:catAx>
      <c:valAx>
        <c:axId val="259581824"/>
        <c:scaling>
          <c:orientation val="minMax"/>
        </c:scaling>
        <c:delete val="1"/>
        <c:axPos val="b"/>
        <c:numFmt formatCode="0.00%" sourceLinked="1"/>
        <c:majorTickMark val="out"/>
        <c:minorTickMark val="none"/>
        <c:tickLblPos val="nextTo"/>
        <c:crossAx val="259574400"/>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01.12.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solidFill>
                  <a:prstClr val="black"/>
                </a:solidFill>
              </a:rPr>
              <a:pPr/>
              <a:t>3</a:t>
            </a:fld>
            <a:endParaRPr lang="de-DE" dirty="0" smtClean="0">
              <a:solidFill>
                <a:prstClr val="black"/>
              </a:solidFill>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1</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1</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November, 2014</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EUROPE SELECT DIVIDEND 30 INDEX</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References</a:t>
            </a:r>
            <a:endParaRPr lang="en-US" baseline="30000" dirty="0" smtClean="0"/>
          </a:p>
        </p:txBody>
      </p:sp>
      <p:sp>
        <p:nvSpPr>
          <p:cNvPr id="28" name="TextBox 27"/>
          <p:cNvSpPr txBox="1"/>
          <p:nvPr/>
        </p:nvSpPr>
        <p:spPr>
          <a:xfrm>
            <a:off x="9307298" y="6487889"/>
            <a:ext cx="527957" cy="175433"/>
          </a:xfrm>
          <a:prstGeom prst="rect">
            <a:avLst/>
          </a:prstGeom>
          <a:solidFill>
            <a:schemeClr val="bg1"/>
          </a:solidFill>
        </p:spPr>
        <p:txBody>
          <a:bodyPr wrap="square" lIns="0" tIns="0" rIns="0" bIns="0" rtlCol="0">
            <a:spAutoFit/>
          </a:bodyPr>
          <a:lstStyle/>
          <a:p>
            <a:pPr algn="l">
              <a:lnSpc>
                <a:spcPct val="95000"/>
              </a:lnSpc>
            </a:pPr>
            <a:r>
              <a:rPr lang="en-US" sz="1200" b="0" dirty="0" smtClean="0"/>
              <a:t> </a:t>
            </a:r>
            <a:fld id="{9713B8C3-2C6E-429C-B53D-6800F49006AC}" type="slidenum">
              <a:rPr lang="en-US" sz="1200" b="0" smtClean="0"/>
              <a:pPr algn="l">
                <a:lnSpc>
                  <a:spcPct val="95000"/>
                </a:lnSpc>
              </a:pPr>
              <a:t>10</a:t>
            </a:fld>
            <a:endParaRPr lang="en-US" sz="1200" b="0" dirty="0" smtClean="0"/>
          </a:p>
        </p:txBody>
      </p:sp>
      <p:sp>
        <p:nvSpPr>
          <p:cNvPr id="2" name="Rectangle 2"/>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1" name="Rectangle 4"/>
          <p:cNvSpPr>
            <a:spLocks noChangeArrowheads="1"/>
          </p:cNvSpPr>
          <p:nvPr/>
        </p:nvSpPr>
        <p:spPr bwMode="auto">
          <a:xfrm>
            <a:off x="368300" y="1540760"/>
            <a:ext cx="9155113" cy="4062069"/>
          </a:xfrm>
          <a:prstGeom prst="rect">
            <a:avLst/>
          </a:prstGeom>
          <a:noFill/>
          <a:ln w="9525">
            <a:noFill/>
            <a:miter lim="800000"/>
            <a:headEnd/>
            <a:tailEnd/>
          </a:ln>
        </p:spPr>
        <p:txBody>
          <a:bodyPr wrap="square" lIns="0" tIns="36000" rIns="0" bIns="0">
            <a:spAutoFit/>
          </a:bodyPr>
          <a:lstStyle/>
          <a:p>
            <a:pPr marL="190500" lvl="1" indent="-188913">
              <a:lnSpc>
                <a:spcPct val="80000"/>
              </a:lnSpc>
              <a:spcBef>
                <a:spcPct val="0"/>
              </a:spcBef>
              <a:spcAft>
                <a:spcPts val="600"/>
              </a:spcAft>
              <a:buFont typeface="Arial" charset="0"/>
              <a:buChar char="»"/>
            </a:pPr>
            <a:r>
              <a:rPr lang="en-US" sz="1400" dirty="0" smtClean="0"/>
              <a:t>Campbell</a:t>
            </a:r>
            <a:r>
              <a:rPr lang="en-US" sz="1400" dirty="0"/>
              <a:t>, J. and R. Shiller, The Dividend-Price Ratio and Expectations of Future Dividends and Discount Factors, Review of Financial Studies, 1,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Campbell, J. and R. Shiller, Stock Prices, Earnings, and Expected Dividends, Journal of Finance, 43,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Dickson, Henry Chip, and Charles L. </a:t>
            </a:r>
            <a:r>
              <a:rPr lang="en-US" sz="1400" dirty="0" err="1"/>
              <a:t>Reinhard</a:t>
            </a:r>
            <a:r>
              <a:rPr lang="en-US" sz="1400" dirty="0"/>
              <a:t>, Dividend Yield Screens, </a:t>
            </a:r>
            <a:r>
              <a:rPr lang="en-US" sz="1400" dirty="0" smtClean="0"/>
              <a:t>Portfolio Strategy</a:t>
            </a:r>
            <a:r>
              <a:rPr lang="en-US" sz="1400" dirty="0"/>
              <a:t>, Lehman Brothers Equity Research, September 26, </a:t>
            </a:r>
            <a:r>
              <a:rPr lang="en-US" sz="1400" dirty="0" smtClean="0"/>
              <a:t>2005</a:t>
            </a:r>
            <a:endParaRPr lang="en-US" sz="1400" dirty="0"/>
          </a:p>
          <a:p>
            <a:pPr marL="190500" lvl="1" indent="-188913">
              <a:lnSpc>
                <a:spcPct val="80000"/>
              </a:lnSpc>
              <a:spcBef>
                <a:spcPct val="0"/>
              </a:spcBef>
              <a:spcAft>
                <a:spcPts val="600"/>
              </a:spcAft>
              <a:buFont typeface="Arial" charset="0"/>
              <a:buChar char="»"/>
            </a:pPr>
            <a:r>
              <a:rPr lang="en-US" sz="1400" dirty="0" err="1"/>
              <a:t>Dimson</a:t>
            </a:r>
            <a:r>
              <a:rPr lang="en-US" sz="1400" dirty="0"/>
              <a:t>, Elroy, Paul Marsh, and Mike Staunton, Triumph of the </a:t>
            </a:r>
            <a:r>
              <a:rPr lang="en-US" sz="1400" dirty="0" smtClean="0"/>
              <a:t>Optimists, Princeton </a:t>
            </a:r>
            <a:r>
              <a:rPr lang="en-US" sz="1400" dirty="0"/>
              <a:t>University Press, </a:t>
            </a:r>
            <a:r>
              <a:rPr lang="en-US" sz="1400" dirty="0" smtClean="0"/>
              <a:t>2002</a:t>
            </a:r>
          </a:p>
          <a:p>
            <a:pPr marL="190500" lvl="1" indent="-188913">
              <a:lnSpc>
                <a:spcPct val="80000"/>
              </a:lnSpc>
              <a:spcBef>
                <a:spcPct val="0"/>
              </a:spcBef>
              <a:spcAft>
                <a:spcPts val="600"/>
              </a:spcAft>
              <a:buFont typeface="Arial" charset="0"/>
              <a:buChar char="»"/>
            </a:pPr>
            <a:r>
              <a:rPr lang="en-US" sz="1400" dirty="0" smtClean="0"/>
              <a:t>Graham</a:t>
            </a:r>
            <a:r>
              <a:rPr lang="en-US" sz="1400" dirty="0"/>
              <a:t>, Benjamin, The Intelligent Investor, Fourth Revised Edition, </a:t>
            </a:r>
            <a:r>
              <a:rPr lang="en-US" sz="1400" dirty="0" smtClean="0"/>
              <a:t>Harper Business</a:t>
            </a:r>
            <a:r>
              <a:rPr lang="en-US" sz="1400" dirty="0"/>
              <a:t>, </a:t>
            </a:r>
            <a:r>
              <a:rPr lang="en-US" sz="1400" dirty="0" smtClean="0"/>
              <a:t>1973</a:t>
            </a:r>
            <a:endParaRPr lang="en-US" sz="1400" dirty="0"/>
          </a:p>
          <a:p>
            <a:pPr marL="190500" lvl="1" indent="-188913">
              <a:lnSpc>
                <a:spcPct val="80000"/>
              </a:lnSpc>
              <a:spcBef>
                <a:spcPct val="0"/>
              </a:spcBef>
              <a:spcAft>
                <a:spcPts val="600"/>
              </a:spcAft>
              <a:buFont typeface="Arial" charset="0"/>
              <a:buChar char="»"/>
            </a:pPr>
            <a:r>
              <a:rPr lang="en-US" sz="1400" dirty="0" err="1"/>
              <a:t>Keppler</a:t>
            </a:r>
            <a:r>
              <a:rPr lang="en-US" sz="1400" dirty="0"/>
              <a:t>, A. Michael, The Importance of Dividend Yields in Country </a:t>
            </a:r>
            <a:r>
              <a:rPr lang="en-US" sz="1400" dirty="0" smtClean="0"/>
              <a:t>Selection, Journal </a:t>
            </a:r>
            <a:r>
              <a:rPr lang="en-US" sz="1400" dirty="0"/>
              <a:t>of Portfolio Management, Winter, </a:t>
            </a:r>
            <a:r>
              <a:rPr lang="en-US" sz="1400" dirty="0" smtClean="0"/>
              <a:t>1991</a:t>
            </a:r>
            <a:endParaRPr lang="en-US" sz="1400" dirty="0"/>
          </a:p>
          <a:p>
            <a:pPr marL="190500" lvl="1" indent="-188913">
              <a:lnSpc>
                <a:spcPct val="80000"/>
              </a:lnSpc>
              <a:spcBef>
                <a:spcPct val="0"/>
              </a:spcBef>
              <a:spcAft>
                <a:spcPts val="600"/>
              </a:spcAft>
              <a:buFont typeface="Arial" charset="0"/>
              <a:buChar char="»"/>
            </a:pPr>
            <a:r>
              <a:rPr lang="en-US" sz="1400" dirty="0"/>
              <a:t>Levis, Mario, Stock Market Anomalies: A Reassessment Based on the UK </a:t>
            </a:r>
            <a:r>
              <a:rPr lang="en-US" sz="1400" dirty="0" smtClean="0"/>
              <a:t>Evidence, Journal </a:t>
            </a:r>
            <a:r>
              <a:rPr lang="en-US" sz="1400" dirty="0"/>
              <a:t>of Banking and Finance, 13, </a:t>
            </a:r>
            <a:r>
              <a:rPr lang="en-US" sz="1400" dirty="0" smtClean="0"/>
              <a:t>198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 of Personal Taxes </a:t>
            </a:r>
            <a:r>
              <a:rPr lang="en-US" sz="1400" dirty="0" smtClean="0"/>
              <a:t>and Dividends </a:t>
            </a:r>
            <a:r>
              <a:rPr lang="en-US" sz="1400" dirty="0"/>
              <a:t>on Capital Asset Prices, Journal of Financial Economics, </a:t>
            </a:r>
            <a:r>
              <a:rPr lang="en-US" sz="1400" dirty="0" smtClean="0"/>
              <a:t>197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s of </a:t>
            </a:r>
            <a:r>
              <a:rPr lang="en-US" sz="1400" dirty="0" smtClean="0"/>
              <a:t>Dividends on </a:t>
            </a:r>
            <a:r>
              <a:rPr lang="en-US" sz="1400" dirty="0"/>
              <a:t>Common Stock Prices Tax Effects or Information Effects?, The Journal </a:t>
            </a:r>
            <a:r>
              <a:rPr lang="en-US" sz="1400" dirty="0" smtClean="0"/>
              <a:t>Of Finance</a:t>
            </a:r>
            <a:r>
              <a:rPr lang="en-US" sz="1400" dirty="0"/>
              <a:t>, Vol. XXXVII, No. 2, May </a:t>
            </a:r>
            <a:r>
              <a:rPr lang="en-US" sz="1400" dirty="0" smtClean="0"/>
              <a:t>1982</a:t>
            </a:r>
            <a:endParaRPr lang="en-US" sz="1400" dirty="0"/>
          </a:p>
          <a:p>
            <a:pPr marL="190500" lvl="1" indent="-188913">
              <a:lnSpc>
                <a:spcPct val="80000"/>
              </a:lnSpc>
              <a:spcBef>
                <a:spcPct val="0"/>
              </a:spcBef>
              <a:spcAft>
                <a:spcPts val="600"/>
              </a:spcAft>
              <a:buFont typeface="Arial" charset="0"/>
              <a:buChar char="»"/>
            </a:pPr>
            <a:r>
              <a:rPr lang="en-US" sz="1400" dirty="0"/>
              <a:t>O’Higgins, Michael B. and John </a:t>
            </a:r>
            <a:r>
              <a:rPr lang="en-US" sz="1400" dirty="0" err="1"/>
              <a:t>Downes</a:t>
            </a:r>
            <a:r>
              <a:rPr lang="en-US" sz="1400" dirty="0"/>
              <a:t>, Beating the Dow, HarperCollins </a:t>
            </a:r>
            <a:r>
              <a:rPr lang="en-US" sz="1400" dirty="0" smtClean="0"/>
              <a:t>2000</a:t>
            </a:r>
            <a:endParaRPr lang="en-US" sz="1400" dirty="0"/>
          </a:p>
          <a:p>
            <a:pPr marL="190500" lvl="1" indent="-188913" algn="l">
              <a:lnSpc>
                <a:spcPct val="80000"/>
              </a:lnSpc>
              <a:spcBef>
                <a:spcPct val="0"/>
              </a:spcBef>
              <a:spcAft>
                <a:spcPts val="600"/>
              </a:spcAft>
              <a:buFont typeface="Arial" charset="0"/>
              <a:buChar char="»"/>
            </a:pPr>
            <a:endParaRPr lang="en-US" sz="1400" b="0" dirty="0"/>
          </a:p>
          <a:p>
            <a:pPr marL="190500" lvl="1" indent="-188913" algn="l">
              <a:lnSpc>
                <a:spcPct val="80000"/>
              </a:lnSpc>
              <a:spcBef>
                <a:spcPct val="0"/>
              </a:spcBef>
              <a:spcAft>
                <a:spcPts val="600"/>
              </a:spcAft>
              <a:buFont typeface="Arial" charset="0"/>
              <a:buChar char="»"/>
            </a:pPr>
            <a:endParaRPr lang="en-US" sz="1400" b="0" dirty="0"/>
          </a:p>
        </p:txBody>
      </p:sp>
    </p:spTree>
    <p:extLst>
      <p:ext uri="{BB962C8B-B14F-4D97-AF65-F5344CB8AC3E}">
        <p14:creationId xmlns:p14="http://schemas.microsoft.com/office/powerpoint/2010/main" val="14259614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3</a:t>
            </a:r>
          </a:p>
          <a:p>
            <a:r>
              <a:rPr lang="en-US" dirty="0" smtClean="0"/>
              <a:t>Methodology	Page </a:t>
            </a:r>
            <a:r>
              <a:rPr lang="en-US" dirty="0"/>
              <a:t>4</a:t>
            </a:r>
            <a:endParaRPr lang="en-US" dirty="0" smtClean="0"/>
          </a:p>
          <a:p>
            <a:r>
              <a:rPr lang="en-US" dirty="0" smtClean="0"/>
              <a:t>Risk and return overview	Page 5</a:t>
            </a:r>
            <a:endParaRPr lang="en-US" dirty="0"/>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prstClr val="black"/>
                </a:solidFill>
              </a:rPr>
              <a:t>In </a:t>
            </a:r>
            <a:r>
              <a:rPr lang="en-US" sz="1600" dirty="0">
                <a:solidFill>
                  <a:prstClr val="black"/>
                </a:solidFill>
              </a:rPr>
              <a:t>today’s </a:t>
            </a:r>
            <a:r>
              <a:rPr lang="en-US" sz="1600" b="1" dirty="0">
                <a:solidFill>
                  <a:prstClr val="black"/>
                </a:solidFill>
              </a:rPr>
              <a:t>low yield </a:t>
            </a:r>
            <a:r>
              <a:rPr lang="en-US" sz="1600" b="1" dirty="0" smtClean="0">
                <a:solidFill>
                  <a:prstClr val="black"/>
                </a:solidFill>
              </a:rPr>
              <a:t>environment </a:t>
            </a:r>
            <a:r>
              <a:rPr lang="en-US" sz="1600" dirty="0">
                <a:solidFill>
                  <a:prstClr val="black"/>
                </a:solidFill>
              </a:rPr>
              <a:t>investor preferences </a:t>
            </a:r>
            <a:r>
              <a:rPr lang="en-US" sz="1600" dirty="0" smtClean="0">
                <a:solidFill>
                  <a:prstClr val="black"/>
                </a:solidFill>
              </a:rPr>
              <a:t>are strongly </a:t>
            </a:r>
            <a:r>
              <a:rPr lang="en-US" sz="1600" dirty="0">
                <a:solidFill>
                  <a:prstClr val="black"/>
                </a:solidFill>
              </a:rPr>
              <a:t>tilt toward high dividend stocks which can boost </a:t>
            </a:r>
            <a:r>
              <a:rPr lang="en-US" sz="1600" dirty="0" smtClean="0">
                <a:solidFill>
                  <a:prstClr val="black"/>
                </a:solidFill>
              </a:rPr>
              <a:t>stock prices</a:t>
            </a:r>
            <a:endParaRPr lang="en-US" sz="1600" dirty="0" smtClean="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Considerations</a:t>
            </a:r>
            <a:endParaRPr lang="en-US" sz="1600" b="1" dirty="0">
              <a:solidFill>
                <a:prstClr val="white"/>
              </a:solidFill>
            </a:endParaRPr>
          </a:p>
        </p:txBody>
      </p:sp>
      <p:sp>
        <p:nvSpPr>
          <p:cNvPr id="37893" name="Rectangle 5"/>
          <p:cNvSpPr>
            <a:spLocks noChangeArrowheads="1"/>
          </p:cNvSpPr>
          <p:nvPr/>
        </p:nvSpPr>
        <p:spPr bwMode="auto">
          <a:xfrm>
            <a:off x="5167313" y="2217738"/>
            <a:ext cx="4359275" cy="93564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STOXX </a:t>
            </a:r>
            <a:r>
              <a:rPr lang="en-US" sz="1600" dirty="0"/>
              <a:t>ensures that component </a:t>
            </a:r>
            <a:r>
              <a:rPr lang="en-US" sz="1600" b="1" dirty="0"/>
              <a:t>selection and weighting </a:t>
            </a:r>
            <a:r>
              <a:rPr lang="en-US" sz="1600" dirty="0"/>
              <a:t>for Select Dividend Indices is </a:t>
            </a:r>
            <a:r>
              <a:rPr lang="en-US" sz="1600" dirty="0" smtClean="0"/>
              <a:t>based </a:t>
            </a:r>
            <a:r>
              <a:rPr lang="en-US" sz="1600" dirty="0"/>
              <a:t>on </a:t>
            </a:r>
            <a:r>
              <a:rPr lang="en-US" sz="1600" dirty="0" smtClean="0"/>
              <a:t>net </a:t>
            </a:r>
            <a:r>
              <a:rPr lang="en-US" sz="1600" dirty="0"/>
              <a:t>dividend </a:t>
            </a:r>
            <a:r>
              <a:rPr lang="en-US" sz="1600" dirty="0" smtClean="0"/>
              <a:t>yield relative to home market</a:t>
            </a:r>
            <a:endParaRPr lang="en-US" sz="1600" dirty="0" smtClean="0">
              <a:solidFill>
                <a:srgbClr val="000000"/>
              </a:solidFill>
            </a:endParaRPr>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rgbClr val="FFFFFF"/>
                </a:solidFill>
              </a:rPr>
              <a:t>Approach</a:t>
            </a:r>
            <a:endParaRPr lang="en-US" sz="1600" b="1" dirty="0">
              <a:solidFill>
                <a:srgbClr val="FFFFFF"/>
              </a:solidFill>
            </a:endParaRP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solidFill>
                    <a:prstClr val="black"/>
                  </a:solidFill>
                </a:endParaRPr>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grpSp>
      </p:grpSp>
      <p:sp>
        <p:nvSpPr>
          <p:cNvPr id="2" name="Text Placeholder 1"/>
          <p:cNvSpPr>
            <a:spLocks noGrp="1"/>
          </p:cNvSpPr>
          <p:nvPr>
            <p:ph type="body" sz="quarter" idx="12"/>
          </p:nvPr>
        </p:nvSpPr>
        <p:spPr/>
        <p:txBody>
          <a:bodyPr/>
          <a:lstStyle/>
          <a:p>
            <a:r>
              <a:rPr lang="en-US" dirty="0" smtClean="0"/>
              <a:t>List of selected references are provided at the end of this presentation</a:t>
            </a:r>
            <a:endParaRPr lang="en-US" dirty="0"/>
          </a:p>
        </p:txBody>
      </p:sp>
      <p:sp>
        <p:nvSpPr>
          <p:cNvPr id="15" name="Rectangle 3"/>
          <p:cNvSpPr>
            <a:spLocks noChangeArrowheads="1"/>
          </p:cNvSpPr>
          <p:nvPr/>
        </p:nvSpPr>
        <p:spPr bwMode="auto">
          <a:xfrm>
            <a:off x="368300" y="3236317"/>
            <a:ext cx="4357688" cy="116955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Extensive research supports that </a:t>
            </a:r>
            <a:r>
              <a:rPr lang="en-US" sz="1600" dirty="0"/>
              <a:t>companies that </a:t>
            </a:r>
            <a:r>
              <a:rPr lang="en-US" sz="1600" b="1" dirty="0"/>
              <a:t>continuously pay dividends</a:t>
            </a:r>
            <a:r>
              <a:rPr lang="en-US" sz="1600" dirty="0"/>
              <a:t> during good times also do so during bear </a:t>
            </a:r>
            <a:r>
              <a:rPr lang="en-US" sz="1600" dirty="0" smtClean="0"/>
              <a:t>markets and tend to generate above market </a:t>
            </a:r>
            <a:r>
              <a:rPr lang="en-US" sz="1600" dirty="0">
                <a:solidFill>
                  <a:prstClr val="black"/>
                </a:solidFill>
              </a:rPr>
              <a:t>risk-adjusted </a:t>
            </a:r>
            <a:r>
              <a:rPr lang="en-US" sz="1600" dirty="0" smtClean="0">
                <a:solidFill>
                  <a:prstClr val="black"/>
                </a:solidFill>
              </a:rPr>
              <a:t>returns</a:t>
            </a:r>
            <a:r>
              <a:rPr lang="en-US" sz="1600" baseline="30000" dirty="0" smtClean="0">
                <a:solidFill>
                  <a:prstClr val="black"/>
                </a:solidFill>
              </a:rPr>
              <a:t>1</a:t>
            </a:r>
            <a:endParaRPr lang="en-US" sz="1600" dirty="0"/>
          </a:p>
        </p:txBody>
      </p:sp>
      <p:sp>
        <p:nvSpPr>
          <p:cNvPr id="17" name="Rectangle 5"/>
          <p:cNvSpPr>
            <a:spLocks noChangeArrowheads="1"/>
          </p:cNvSpPr>
          <p:nvPr/>
        </p:nvSpPr>
        <p:spPr bwMode="auto">
          <a:xfrm>
            <a:off x="5167313" y="3419017"/>
            <a:ext cx="4359275" cy="46782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Focus on </a:t>
            </a:r>
            <a:r>
              <a:rPr lang="en-US" sz="1600" b="1" dirty="0">
                <a:solidFill>
                  <a:srgbClr val="000000"/>
                </a:solidFill>
              </a:rPr>
              <a:t>consistent</a:t>
            </a:r>
            <a:r>
              <a:rPr lang="en-US" sz="1600" dirty="0">
                <a:solidFill>
                  <a:srgbClr val="000000"/>
                </a:solidFill>
              </a:rPr>
              <a:t> and long track record of dividend </a:t>
            </a:r>
            <a:r>
              <a:rPr lang="en-US" sz="1600" dirty="0" smtClean="0">
                <a:solidFill>
                  <a:srgbClr val="000000"/>
                </a:solidFill>
              </a:rPr>
              <a:t>payments</a:t>
            </a:r>
            <a:endParaRPr lang="en-US" sz="1600" dirty="0">
              <a:solidFill>
                <a:srgbClr val="000000"/>
              </a:solidFill>
            </a:endParaRPr>
          </a:p>
        </p:txBody>
      </p:sp>
      <p:sp>
        <p:nvSpPr>
          <p:cNvPr id="19" name="Rectangle 5"/>
          <p:cNvSpPr>
            <a:spLocks noChangeArrowheads="1"/>
          </p:cNvSpPr>
          <p:nvPr/>
        </p:nvSpPr>
        <p:spPr bwMode="auto">
          <a:xfrm>
            <a:off x="5167313" y="4206880"/>
            <a:ext cx="4359275"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b="1" dirty="0">
                <a:solidFill>
                  <a:srgbClr val="000000"/>
                </a:solidFill>
              </a:rPr>
              <a:t>Tradability and diversification </a:t>
            </a:r>
            <a:r>
              <a:rPr lang="en-US" sz="1600" dirty="0">
                <a:solidFill>
                  <a:srgbClr val="000000"/>
                </a:solidFill>
              </a:rPr>
              <a:t>achieved through liquidity filters and maximum weight capping</a:t>
            </a:r>
          </a:p>
        </p:txBody>
      </p:sp>
      <p:sp>
        <p:nvSpPr>
          <p:cNvPr id="25" name="Rectangle 3"/>
          <p:cNvSpPr>
            <a:spLocks noChangeArrowheads="1"/>
          </p:cNvSpPr>
          <p:nvPr/>
        </p:nvSpPr>
        <p:spPr bwMode="auto">
          <a:xfrm>
            <a:off x="368300" y="4695071"/>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prstClr val="black"/>
                </a:solidFill>
              </a:rPr>
              <a:t>Very high dividends can indicate that companies lack profitable reinvestment ideas/opportunities</a:t>
            </a:r>
            <a:endParaRPr lang="en-US" sz="1600" dirty="0"/>
          </a:p>
        </p:txBody>
      </p:sp>
      <p:sp>
        <p:nvSpPr>
          <p:cNvPr id="26" name="Rectangle 5"/>
          <p:cNvSpPr>
            <a:spLocks noChangeArrowheads="1"/>
          </p:cNvSpPr>
          <p:nvPr/>
        </p:nvSpPr>
        <p:spPr bwMode="auto">
          <a:xfrm>
            <a:off x="5167312" y="5162892"/>
            <a:ext cx="4359275" cy="23391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Avoid companies with excessive payout ratios </a:t>
            </a:r>
          </a:p>
        </p:txBody>
      </p:sp>
    </p:spTree>
    <p:extLst>
      <p:ext uri="{BB962C8B-B14F-4D97-AF65-F5344CB8AC3E}">
        <p14:creationId xmlns:p14="http://schemas.microsoft.com/office/powerpoint/2010/main" val="3112378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7"/>
          <p:cNvSpPr>
            <a:spLocks noChangeArrowheads="1"/>
          </p:cNvSpPr>
          <p:nvPr/>
        </p:nvSpPr>
        <p:spPr bwMode="auto">
          <a:xfrm>
            <a:off x="6967062" y="1752601"/>
            <a:ext cx="2662713" cy="366395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a:t>
            </a:r>
            <a:r>
              <a:rPr lang="en-US" sz="1600" dirty="0" smtClean="0"/>
              <a:t>: based on </a:t>
            </a:r>
          </a:p>
          <a:p>
            <a:pPr marL="1587" lvl="1">
              <a:lnSpc>
                <a:spcPct val="95000"/>
              </a:lnSpc>
              <a:spcBef>
                <a:spcPct val="0"/>
              </a:spcBef>
            </a:pPr>
            <a:r>
              <a:rPr lang="en-US" sz="1600" dirty="0" smtClean="0"/>
              <a:t>Annual net dividend yield.</a:t>
            </a:r>
          </a:p>
          <a:p>
            <a:pPr marL="1587" lvl="1">
              <a:lnSpc>
                <a:spcPct val="95000"/>
              </a:lnSpc>
              <a:spcBef>
                <a:spcPct val="0"/>
              </a:spcBef>
            </a:pPr>
            <a:r>
              <a:rPr lang="en-US" sz="1600" dirty="0" smtClean="0"/>
              <a:t>Capping at 15% applied </a:t>
            </a:r>
          </a:p>
          <a:p>
            <a:pPr marL="1587" lvl="1">
              <a:lnSpc>
                <a:spcPct val="95000"/>
              </a:lnSpc>
              <a:spcBef>
                <a:spcPct val="0"/>
              </a:spcBef>
            </a:pPr>
            <a:r>
              <a:rPr lang="en-US" sz="1600" dirty="0" smtClean="0"/>
              <a:t>quarterly</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r>
              <a:rPr lang="en-US" sz="1600" dirty="0" smtClean="0"/>
              <a:t>: annually in </a:t>
            </a:r>
          </a:p>
          <a:p>
            <a:pPr marL="1587" lvl="1">
              <a:lnSpc>
                <a:spcPct val="95000"/>
              </a:lnSpc>
              <a:spcBef>
                <a:spcPct val="0"/>
              </a:spcBef>
            </a:pPr>
            <a:r>
              <a:rPr lang="en-US" sz="1600" dirty="0" smtClean="0"/>
              <a:t>March.</a:t>
            </a:r>
          </a:p>
          <a:p>
            <a:pPr marL="1587" lvl="1">
              <a:lnSpc>
                <a:spcPct val="95000"/>
              </a:lnSpc>
              <a:spcBef>
                <a:spcPct val="0"/>
              </a:spcBef>
            </a:pPr>
            <a:endParaRPr lang="en-US" sz="1600" dirty="0" smtClean="0"/>
          </a:p>
          <a:p>
            <a:pPr marL="190500" lvl="1" indent="-188913">
              <a:lnSpc>
                <a:spcPct val="95000"/>
              </a:lnSpc>
              <a:spcBef>
                <a:spcPct val="0"/>
              </a:spcBef>
              <a:buFont typeface="Arial" charset="0"/>
              <a:buChar char="»"/>
            </a:pPr>
            <a:r>
              <a:rPr lang="en-US" sz="1600" dirty="0" smtClean="0"/>
              <a:t>Only the higher dividend</a:t>
            </a:r>
          </a:p>
          <a:p>
            <a:pPr marL="1587" lvl="1">
              <a:lnSpc>
                <a:spcPct val="95000"/>
              </a:lnSpc>
              <a:spcBef>
                <a:spcPct val="0"/>
              </a:spcBef>
            </a:pPr>
            <a:r>
              <a:rPr lang="en-US" sz="1600" dirty="0"/>
              <a:t>y</a:t>
            </a:r>
            <a:r>
              <a:rPr lang="en-US" sz="1600" dirty="0" smtClean="0"/>
              <a:t>ielding share line is chosen</a:t>
            </a:r>
            <a:endParaRPr lang="en-US" sz="1600" dirty="0"/>
          </a:p>
          <a:p>
            <a:pPr marL="1587" lvl="1">
              <a:lnSpc>
                <a:spcPct val="95000"/>
              </a:lnSpc>
              <a:spcBef>
                <a:spcPct val="0"/>
              </a:spcBef>
            </a:pPr>
            <a:r>
              <a:rPr lang="en-US" sz="1600" dirty="0"/>
              <a:t>f</a:t>
            </a:r>
            <a:r>
              <a:rPr lang="en-US" sz="1600" dirty="0" smtClean="0"/>
              <a:t>or a company</a:t>
            </a:r>
            <a:endParaRPr lang="en-US" sz="1600" dirty="0"/>
          </a:p>
          <a:p>
            <a:pPr marL="1587" lvl="1">
              <a:lnSpc>
                <a:spcPct val="95000"/>
              </a:lnSpc>
              <a:spcBef>
                <a:spcPct val="0"/>
              </a:spcBef>
            </a:pPr>
            <a:endParaRPr lang="en-US" sz="1600" dirty="0" smtClean="0"/>
          </a:p>
        </p:txBody>
      </p:sp>
      <p:sp>
        <p:nvSpPr>
          <p:cNvPr id="82946" name="Rectangle 2"/>
          <p:cNvSpPr>
            <a:spLocks noGrp="1" noChangeArrowheads="1"/>
          </p:cNvSpPr>
          <p:nvPr>
            <p:ph type="title"/>
          </p:nvPr>
        </p:nvSpPr>
        <p:spPr/>
        <p:txBody>
          <a:bodyPr/>
          <a:lstStyle/>
          <a:p>
            <a:r>
              <a:rPr lang="de-CH" dirty="0" err="1" smtClean="0"/>
              <a:t>Methodology</a:t>
            </a:r>
            <a:endParaRPr lang="en-US" dirty="0" smtClean="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1" name="Rectangle 6"/>
          <p:cNvSpPr>
            <a:spLocks noChangeArrowheads="1"/>
          </p:cNvSpPr>
          <p:nvPr/>
        </p:nvSpPr>
        <p:spPr bwMode="auto">
          <a:xfrm>
            <a:off x="3111516" y="2234102"/>
            <a:ext cx="3756009" cy="2105192"/>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Companies that announced dividends payments</a:t>
            </a:r>
          </a:p>
          <a:p>
            <a:pPr marL="196850" lvl="1" indent="-195263" defTabSz="736600">
              <a:lnSpc>
                <a:spcPct val="95000"/>
              </a:lnSpc>
              <a:spcBef>
                <a:spcPct val="0"/>
              </a:spcBef>
              <a:buFont typeface="Arial" charset="0"/>
              <a:buChar char="»"/>
            </a:pPr>
            <a:r>
              <a:rPr lang="en-US" sz="1600" dirty="0" smtClean="0"/>
              <a:t>Have a non-negative dividend growth rate over the past 5 years</a:t>
            </a:r>
          </a:p>
          <a:p>
            <a:pPr marL="196850" lvl="1" indent="-195263" defTabSz="736600">
              <a:lnSpc>
                <a:spcPct val="95000"/>
              </a:lnSpc>
              <a:spcBef>
                <a:spcPct val="0"/>
              </a:spcBef>
              <a:buFont typeface="Arial" charset="0"/>
              <a:buChar char="»"/>
            </a:pPr>
            <a:r>
              <a:rPr lang="en-US" sz="1600" dirty="0" smtClean="0"/>
              <a:t>Dividend payment in 4 out of last 5 calendar years</a:t>
            </a:r>
          </a:p>
          <a:p>
            <a:pPr marL="196850" lvl="1" indent="-195263" defTabSz="736600">
              <a:lnSpc>
                <a:spcPct val="95000"/>
              </a:lnSpc>
              <a:spcBef>
                <a:spcPct val="0"/>
              </a:spcBef>
              <a:buFont typeface="Arial" charset="0"/>
              <a:buChar char="»"/>
            </a:pPr>
            <a:r>
              <a:rPr lang="en-US" sz="1600" dirty="0" smtClean="0"/>
              <a:t>Non-negative payout </a:t>
            </a:r>
            <a:r>
              <a:rPr lang="en-US" sz="1600" dirty="0"/>
              <a:t>ratio of less than or equal to </a:t>
            </a:r>
            <a:r>
              <a:rPr lang="en-US" sz="1600" dirty="0" smtClean="0"/>
              <a:t>60%</a:t>
            </a:r>
          </a:p>
          <a:p>
            <a:pPr marL="196850" lvl="1" indent="-195263" defTabSz="736600">
              <a:lnSpc>
                <a:spcPct val="95000"/>
              </a:lnSpc>
              <a:spcBef>
                <a:spcPct val="0"/>
              </a:spcBef>
              <a:buFont typeface="Arial" charset="0"/>
              <a:buChar char="»"/>
            </a:pPr>
            <a:r>
              <a:rPr lang="en-US" sz="1600" dirty="0" smtClean="0"/>
              <a:t>Minimum liquidity level</a:t>
            </a:r>
          </a:p>
        </p:txBody>
      </p:sp>
      <p:sp>
        <p:nvSpPr>
          <p:cNvPr id="32" name="Rectangle 6"/>
          <p:cNvSpPr>
            <a:spLocks noChangeArrowheads="1"/>
          </p:cNvSpPr>
          <p:nvPr/>
        </p:nvSpPr>
        <p:spPr bwMode="auto">
          <a:xfrm>
            <a:off x="3111516" y="1836737"/>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STOXX Europe 600 + secondary lines</a:t>
            </a:r>
            <a:endParaRPr lang="en-US" sz="1600" b="0" dirty="0"/>
          </a:p>
        </p:txBody>
      </p:sp>
      <p:sp>
        <p:nvSpPr>
          <p:cNvPr id="19" name="Flowchart: Merge 18"/>
          <p:cNvSpPr/>
          <p:nvPr/>
        </p:nvSpPr>
        <p:spPr bwMode="auto">
          <a:xfrm>
            <a:off x="295275" y="1752601"/>
            <a:ext cx="2816241" cy="366395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75762" y="183673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11504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51343" y="449108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16" name="Rectangle 6"/>
          <p:cNvSpPr>
            <a:spLocks noChangeArrowheads="1"/>
          </p:cNvSpPr>
          <p:nvPr/>
        </p:nvSpPr>
        <p:spPr bwMode="auto">
          <a:xfrm>
            <a:off x="3065417" y="4491087"/>
            <a:ext cx="3657600" cy="935641"/>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a:t>30 highest-yielding companies relative to their home market. Current components </a:t>
            </a:r>
            <a:r>
              <a:rPr lang="en-US" sz="1600" dirty="0" smtClean="0"/>
              <a:t>ranked from </a:t>
            </a:r>
            <a:r>
              <a:rPr lang="en-US" sz="1600" dirty="0"/>
              <a:t>1 to 60 </a:t>
            </a:r>
            <a:r>
              <a:rPr lang="en-US" sz="1600" dirty="0" smtClean="0"/>
              <a:t>remain in </a:t>
            </a:r>
            <a:r>
              <a:rPr lang="en-US" sz="1600" dirty="0"/>
              <a:t>the index</a:t>
            </a:r>
            <a:endParaRPr lang="en-US" sz="1600" b="0" dirty="0"/>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107829015"/>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2424766636"/>
              </p:ext>
            </p:extLst>
          </p:nvPr>
        </p:nvGraphicFramePr>
        <p:xfrm>
          <a:off x="5167313" y="2225823"/>
          <a:ext cx="4357687" cy="3092377"/>
        </p:xfrm>
        <a:graphic>
          <a:graphicData uri="http://schemas.openxmlformats.org/drawingml/2006/table">
            <a:tbl>
              <a:tblPr>
                <a:tableStyleId>{616DA210-FB5B-4158-B5E0-FEB733F419BA}</a:tableStyleId>
              </a:tblPr>
              <a:tblGrid>
                <a:gridCol w="1957387"/>
                <a:gridCol w="1209675"/>
                <a:gridCol w="1190625"/>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EUROPE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Europe 6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6%</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6.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2.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1.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2.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2.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4.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5%</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0.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4.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dirty="0" smtClean="0">
                <a:solidFill>
                  <a:schemeClr val="bg1"/>
                </a:solidFill>
              </a:rPr>
              <a:t> </a:t>
            </a:r>
            <a:r>
              <a:rPr lang="en-US" sz="1600" b="1" dirty="0">
                <a:solidFill>
                  <a:schemeClr val="bg1"/>
                </a:solidFill>
              </a:rPr>
              <a:t>5</a:t>
            </a:r>
            <a:r>
              <a:rPr lang="en-US" sz="1600" b="1" dirty="0" smtClean="0">
                <a:solidFill>
                  <a:schemeClr val="bg1"/>
                </a:solidFill>
              </a:rPr>
              <a:t>y</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36" name="Text Box 150"/>
          <p:cNvSpPr txBox="1">
            <a:spLocks noChangeArrowheads="1"/>
          </p:cNvSpPr>
          <p:nvPr/>
        </p:nvSpPr>
        <p:spPr bwMode="auto">
          <a:xfrm>
            <a:off x="1737360" y="6400800"/>
            <a:ext cx="7680960" cy="438582"/>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a:t>
            </a:r>
            <a:r>
              <a:rPr lang="en-US" sz="1000" dirty="0" smtClean="0">
                <a:solidFill>
                  <a:schemeClr val="accent5"/>
                </a:solidFill>
              </a:rPr>
              <a:t> </a:t>
            </a:r>
            <a:r>
              <a:rPr lang="en-US" sz="1000" dirty="0" smtClean="0">
                <a:solidFill>
                  <a:srgbClr val="AFAFAF"/>
                </a:solidFill>
              </a:rPr>
              <a:t>as of Nov. 1, 2014. Annualized returns and annualized volatility (standard deviation) figures are used</a:t>
            </a:r>
          </a:p>
          <a:p>
            <a:pPr marL="164592" indent="-164592">
              <a:lnSpc>
                <a:spcPct val="95000"/>
              </a:lnSpc>
              <a:spcBef>
                <a:spcPct val="0"/>
              </a:spcBef>
              <a:buFont typeface="+mj-lt"/>
              <a:buAutoNum type="arabicParenR"/>
            </a:pPr>
            <a:r>
              <a:rPr lang="en-US" sz="1000" dirty="0">
                <a:solidFill>
                  <a:srgbClr val="AFAFAF"/>
                </a:solidFill>
              </a:rPr>
              <a:t>Computed for the period </a:t>
            </a:r>
            <a:r>
              <a:rPr lang="en-US" sz="1000" dirty="0" smtClean="0">
                <a:solidFill>
                  <a:srgbClr val="AFAFAF"/>
                </a:solidFill>
              </a:rPr>
              <a:t>Nov. 1, 2009 to Oct. 30, 2014</a:t>
            </a:r>
          </a:p>
          <a:p>
            <a:pPr marL="164592" lvl="0" indent="-164592">
              <a:lnSpc>
                <a:spcPct val="95000"/>
              </a:lnSpc>
              <a:spcBef>
                <a:spcPct val="0"/>
              </a:spcBef>
              <a:buFont typeface="+mj-lt"/>
              <a:buAutoNum type="arabicParenR"/>
            </a:pPr>
            <a:r>
              <a:rPr lang="en-US" sz="1000" dirty="0" smtClean="0">
                <a:solidFill>
                  <a:srgbClr val="AFAFAF"/>
                </a:solidFill>
              </a:rPr>
              <a:t>EONIA rate used as riskless asset to calculate Sharpe ratio</a:t>
            </a:r>
            <a:endParaRPr lang="en-US" sz="1000" b="1" dirty="0" smtClean="0">
              <a:solidFill>
                <a:schemeClr val="accent5"/>
              </a:solidFill>
            </a:endParaRPr>
          </a:p>
        </p:txBody>
      </p:sp>
      <p:sp>
        <p:nvSpPr>
          <p:cNvPr id="8" name="Rectangle 6"/>
          <p:cNvSpPr>
            <a:spLocks noChangeArrowheads="1"/>
          </p:cNvSpPr>
          <p:nvPr/>
        </p:nvSpPr>
        <p:spPr bwMode="auto">
          <a:xfrm>
            <a:off x="71123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STOXX Europe 600 (EUR Net Return)</a:t>
            </a:r>
            <a:endParaRPr lang="en-US" sz="1000" dirty="0"/>
          </a:p>
        </p:txBody>
      </p:sp>
      <p:sp>
        <p:nvSpPr>
          <p:cNvPr id="9"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STOXX Europe Select Dividend 30 (EUR Net Return)</a:t>
            </a:r>
            <a:endParaRPr lang="en-US" sz="1000" dirty="0"/>
          </a:p>
        </p:txBody>
      </p:sp>
    </p:spTree>
    <p:extLst>
      <p:ext uri="{BB962C8B-B14F-4D97-AF65-F5344CB8AC3E}">
        <p14:creationId xmlns:p14="http://schemas.microsoft.com/office/powerpoint/2010/main" val="28494563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4" name="Text Placeholder 3"/>
          <p:cNvSpPr>
            <a:spLocks noGrp="1"/>
          </p:cNvSpPr>
          <p:nvPr>
            <p:ph type="body" sz="quarter" idx="12"/>
          </p:nvPr>
        </p:nvSpPr>
        <p:spPr>
          <a:xfrm>
            <a:off x="1732618" y="6396877"/>
            <a:ext cx="7382045" cy="318247"/>
          </a:xfrm>
        </p:spPr>
        <p:txBody>
          <a:bodyPr/>
          <a:lstStyle/>
          <a:p>
            <a:pPr lvl="0"/>
            <a:r>
              <a:rPr lang="en-US" dirty="0"/>
              <a:t>STOXX</a:t>
            </a:r>
            <a:r>
              <a:rPr lang="en-US" dirty="0">
                <a:solidFill>
                  <a:srgbClr val="AFAFAF"/>
                </a:solidFill>
              </a:rPr>
              <a:t> data as of </a:t>
            </a:r>
            <a:r>
              <a:rPr lang="en-US" dirty="0" smtClean="0">
                <a:solidFill>
                  <a:srgbClr val="AFAFAF"/>
                </a:solidFill>
              </a:rPr>
              <a:t>Nov. 1, 2014 (2) Net dividend </a:t>
            </a:r>
            <a:r>
              <a:rPr lang="en-US" dirty="0">
                <a:solidFill>
                  <a:srgbClr val="AFAFAF"/>
                </a:solidFill>
              </a:rPr>
              <a:t>yield is </a:t>
            </a:r>
            <a:r>
              <a:rPr lang="en-US" dirty="0" smtClean="0">
                <a:solidFill>
                  <a:srgbClr val="AFAFAF"/>
                </a:solidFill>
              </a:rPr>
              <a:t>calculated as Net Return index return minus Price index return over 1 year period</a:t>
            </a:r>
            <a:r>
              <a:rPr lang="en-US" dirty="0">
                <a:solidFill>
                  <a:srgbClr val="AFAFAF"/>
                </a:solidFill>
              </a:rPr>
              <a:t> </a:t>
            </a:r>
            <a:r>
              <a:rPr lang="en-US" dirty="0" smtClean="0">
                <a:solidFill>
                  <a:srgbClr val="AFAFAF"/>
                </a:solidFill>
              </a:rPr>
              <a:t>(3) Including negative values. Trailing and projection period are 1 year. (4) Turnover over 1 year period </a:t>
            </a:r>
          </a:p>
          <a:p>
            <a:endParaRPr lang="en-GB" dirty="0"/>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1858174215"/>
              </p:ext>
            </p:extLst>
          </p:nvPr>
        </p:nvGraphicFramePr>
        <p:xfrm>
          <a:off x="5156834" y="2225820"/>
          <a:ext cx="4357687" cy="1135131"/>
        </p:xfrm>
        <a:graphic>
          <a:graphicData uri="http://schemas.openxmlformats.org/drawingml/2006/table">
            <a:tbl>
              <a:tblPr>
                <a:tableStyleId>{616DA210-FB5B-4158-B5E0-FEB733F419BA}</a:tableStyleId>
              </a:tblPr>
              <a:tblGrid>
                <a:gridCol w="1967866"/>
                <a:gridCol w="1219200"/>
                <a:gridCol w="117062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EUROPE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Europe 6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60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4.8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93%</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Rectangle 2"/>
          <p:cNvSpPr>
            <a:spLocks noChangeArrowheads="1"/>
          </p:cNvSpPr>
          <p:nvPr/>
        </p:nvSpPr>
        <p:spPr bwMode="auto">
          <a:xfrm>
            <a:off x="51663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graphicFrame>
        <p:nvGraphicFramePr>
          <p:cNvPr id="17" name="Group 62"/>
          <p:cNvGraphicFramePr>
            <a:graphicFrameLocks noGrp="1"/>
          </p:cNvGraphicFramePr>
          <p:nvPr>
            <p:custDataLst>
              <p:tags r:id="rId2"/>
            </p:custDataLst>
            <p:extLst>
              <p:ext uri="{D42A27DB-BD31-4B8C-83A1-F6EECF244321}">
                <p14:modId xmlns:p14="http://schemas.microsoft.com/office/powerpoint/2010/main" val="1843099744"/>
              </p:ext>
            </p:extLst>
          </p:nvPr>
        </p:nvGraphicFramePr>
        <p:xfrm>
          <a:off x="5171997" y="3597205"/>
          <a:ext cx="4331954" cy="1477695"/>
        </p:xfrm>
        <a:graphic>
          <a:graphicData uri="http://schemas.openxmlformats.org/drawingml/2006/table">
            <a:tbl>
              <a:tblPr>
                <a:tableStyleId>{616DA210-FB5B-4158-B5E0-FEB733F419BA}</a:tableStyleId>
              </a:tblPr>
              <a:tblGrid>
                <a:gridCol w="3174273"/>
                <a:gridCol w="115768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vs </a:t>
                      </a:r>
                    </a:p>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Europe 6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3"/>
            </p:custDataLst>
            <p:extLst>
              <p:ext uri="{D42A27DB-BD31-4B8C-83A1-F6EECF244321}">
                <p14:modId xmlns:p14="http://schemas.microsoft.com/office/powerpoint/2010/main" val="1145028247"/>
              </p:ext>
            </p:extLst>
          </p:nvPr>
        </p:nvGraphicFramePr>
        <p:xfrm>
          <a:off x="365760" y="2225820"/>
          <a:ext cx="4358640" cy="2505387"/>
        </p:xfrm>
        <a:graphic>
          <a:graphicData uri="http://schemas.openxmlformats.org/drawingml/2006/table">
            <a:tbl>
              <a:tblPr>
                <a:tableStyleId>{616DA210-FB5B-4158-B5E0-FEB733F419BA}</a:tableStyleId>
              </a:tblPr>
              <a:tblGrid>
                <a:gridCol w="1863090"/>
                <a:gridCol w="1228725"/>
                <a:gridCol w="1266825"/>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EUROPE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Europe 6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Net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dividend 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5.36%</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7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7.2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2.4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0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7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6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7.5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8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Rectangle 6"/>
          <p:cNvSpPr>
            <a:spLocks noChangeArrowheads="1"/>
          </p:cNvSpPr>
          <p:nvPr/>
        </p:nvSpPr>
        <p:spPr bwMode="auto">
          <a:xfrm>
            <a:off x="71123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STOXX Europe 600 (EUR Net Return)</a:t>
            </a:r>
            <a:endParaRPr lang="en-US" sz="1000" dirty="0"/>
          </a:p>
        </p:txBody>
      </p:sp>
      <p:sp>
        <p:nvSpPr>
          <p:cNvPr id="13"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STOXX Europe Select Dividend 30 (EUR Net Return)</a:t>
            </a:r>
            <a:endParaRPr lang="en-US" sz="1000" dirty="0"/>
          </a:p>
        </p:txBody>
      </p:sp>
    </p:spTree>
    <p:extLst>
      <p:ext uri="{BB962C8B-B14F-4D97-AF65-F5344CB8AC3E}">
        <p14:creationId xmlns:p14="http://schemas.microsoft.com/office/powerpoint/2010/main" val="1468242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1 November 2014</a:t>
            </a:r>
          </a:p>
        </p:txBody>
      </p:sp>
      <p:sp>
        <p:nvSpPr>
          <p:cNvPr id="10" name="Title 1"/>
          <p:cNvSpPr>
            <a:spLocks noGrp="1"/>
          </p:cNvSpPr>
          <p:nvPr>
            <p:ph type="title"/>
          </p:nvPr>
        </p:nvSpPr>
        <p:spPr/>
        <p:txBody>
          <a:bodyPr/>
          <a:lstStyle/>
          <a:p>
            <a:r>
              <a:rPr lang="en-US" dirty="0" smtClean="0"/>
              <a:t>Industry and country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1954390108"/>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517665513"/>
              </p:ext>
            </p:extLst>
          </p:nvPr>
        </p:nvGraphicFramePr>
        <p:xfrm>
          <a:off x="4953794" y="2222778"/>
          <a:ext cx="4526107" cy="3841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4042310332"/>
              </p:ext>
            </p:extLst>
          </p:nvPr>
        </p:nvGraphicFramePr>
        <p:xfrm>
          <a:off x="542611" y="1876839"/>
          <a:ext cx="8784269" cy="3996311"/>
        </p:xfrm>
        <a:graphic>
          <a:graphicData uri="http://schemas.openxmlformats.org/drawingml/2006/table">
            <a:tbl>
              <a:tblPr>
                <a:tableStyleId>{616DA210-FB5B-4158-B5E0-FEB733F419BA}</a:tableStyleId>
              </a:tblPr>
              <a:tblGrid>
                <a:gridCol w="2761067"/>
                <a:gridCol w="2279674"/>
                <a:gridCol w="1735792"/>
                <a:gridCol w="2007736"/>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Indus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err="1" smtClean="0">
                          <a:ln>
                            <a:noFill/>
                          </a:ln>
                          <a:effectLst/>
                          <a:latin typeface="Arial" panose="020B0604020202020204" pitchFamily="34" charset="0"/>
                          <a:cs typeface="Arial" panose="020B0604020202020204" pitchFamily="34" charset="0"/>
                        </a:rPr>
                        <a:t>Belgacom</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Telecommunication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6.70%</a:t>
                      </a:r>
                      <a:endPar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anco Santander</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5.16%</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Seadrill</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Oil &amp; Ga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NO</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4.92%</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Scottish &amp; Southern Energy</a:t>
                      </a: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GB</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4.68%</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Zurich Financial Service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CH</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4.5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Orange</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Telecommunication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4.27%</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Catlin Group</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GB</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4.09%</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AE System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Industr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GB</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3.99%</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E.ON</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a:ln>
                            <a:noFill/>
                          </a:ln>
                          <a:solidFill>
                            <a:schemeClr val="tx1"/>
                          </a:solidFill>
                          <a:effectLst/>
                          <a:latin typeface="Arial" panose="020B0604020202020204" pitchFamily="34" charset="0"/>
                          <a:ea typeface=""/>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D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3.84%</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Amlin</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GB</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3.83%</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1 November 2014</a:t>
            </a:r>
            <a:endParaRPr lang="en-US" sz="1000"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CDEDC940-EE58-47AD-B166-1FC10D70AF90}"/>
</file>

<file path=customXml/itemProps2.xml><?xml version="1.0" encoding="utf-8"?>
<ds:datastoreItem xmlns:ds="http://schemas.openxmlformats.org/officeDocument/2006/customXml" ds:itemID="{3A57E357-9198-49B8-B3C2-A647F23815BE}"/>
</file>

<file path=customXml/itemProps3.xml><?xml version="1.0" encoding="utf-8"?>
<ds:datastoreItem xmlns:ds="http://schemas.openxmlformats.org/officeDocument/2006/customXml" ds:itemID="{59DD42D1-A7F4-401A-9B67-12120E329B10}"/>
</file>

<file path=docProps/app.xml><?xml version="1.0" encoding="utf-8"?>
<Properties xmlns="http://schemas.openxmlformats.org/officeDocument/2006/extended-properties" xmlns:vt="http://schemas.openxmlformats.org/officeDocument/2006/docPropsVTypes">
  <Template>STOXXPresentations2.0</Template>
  <TotalTime>0</TotalTime>
  <Words>1346</Words>
  <Application>Microsoft Office PowerPoint</Application>
  <PresentationFormat>A4 Paper (210x297 mm)</PresentationFormat>
  <Paragraphs>223</Paragraphs>
  <Slides>11</Slides>
  <Notes>5</Notes>
  <HiddenSlides>0</HiddenSlides>
  <MMClips>0</MMClip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STOXXEmbeddedTheme</vt:lpstr>
      <vt:lpstr>Template STOXX Presentations 2.0.</vt:lpstr>
      <vt:lpstr>STOXX_ESG_ProductSlides</vt:lpstr>
      <vt:lpstr>STOXX®  EUROPE SELECT DIVIDEND 30 INDEX </vt:lpstr>
      <vt:lpstr>Agenda</vt:lpstr>
      <vt:lpstr>Investment case</vt:lpstr>
      <vt:lpstr>Methodology</vt:lpstr>
      <vt:lpstr>Risk and return overview</vt:lpstr>
      <vt:lpstr>Index fundamental characteristics and key figures</vt:lpstr>
      <vt:lpstr>Industry and country allocation</vt:lpstr>
      <vt:lpstr>Top 10 components by weight</vt:lpstr>
      <vt:lpstr>STOXX sales contacts</vt:lpstr>
      <vt:lpstr>Reference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204</cp:revision>
  <dcterms:created xsi:type="dcterms:W3CDTF">2014-05-26T13:36:56Z</dcterms:created>
  <dcterms:modified xsi:type="dcterms:W3CDTF">2014-12-01T10:4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